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4"/>
  </p:sldMasterIdLst>
  <p:notesMasterIdLst>
    <p:notesMasterId r:id="rId23"/>
  </p:notesMasterIdLst>
  <p:handoutMasterIdLst>
    <p:handoutMasterId r:id="rId24"/>
  </p:handoutMasterIdLst>
  <p:sldIdLst>
    <p:sldId id="10013" r:id="rId5"/>
    <p:sldId id="2147471530" r:id="rId6"/>
    <p:sldId id="323" r:id="rId7"/>
    <p:sldId id="2147471543" r:id="rId8"/>
    <p:sldId id="2147471532" r:id="rId9"/>
    <p:sldId id="1246" r:id="rId10"/>
    <p:sldId id="2147471545" r:id="rId11"/>
    <p:sldId id="2147471528" r:id="rId12"/>
    <p:sldId id="308" r:id="rId13"/>
    <p:sldId id="2147471542" r:id="rId14"/>
    <p:sldId id="2147471531" r:id="rId15"/>
    <p:sldId id="2147471546" r:id="rId16"/>
    <p:sldId id="2147471547" r:id="rId17"/>
    <p:sldId id="2147471551" r:id="rId18"/>
    <p:sldId id="2147471548" r:id="rId19"/>
    <p:sldId id="2147471549" r:id="rId20"/>
    <p:sldId id="2134806268" r:id="rId21"/>
    <p:sldId id="2134806235" r:id="rId22"/>
  </p:sldIdLst>
  <p:sldSz cx="9144000" cy="5143500" type="screen16x9"/>
  <p:notesSz cx="6858000" cy="9144000"/>
  <p:custDataLst>
    <p:tags r:id="rId25"/>
  </p:custDataLst>
  <p:defaultTextStyle>
    <a:defPPr>
      <a:defRPr lang="de-DE"/>
    </a:defPPr>
    <a:lvl1pPr marL="0" algn="l" defTabSz="914400" rtl="0" eaLnBrk="1" latinLnBrk="0" hangingPunct="1">
      <a:defRPr kumimoji="0" lang="de-DE" sz="1400" b="0" i="0" u="none" kern="1200" baseline="0">
        <a:solidFill>
          <a:schemeClr val="tx1"/>
        </a:solidFill>
        <a:latin typeface="EON Brix San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94F3995-BFA4-4D0E-A86D-082F05EF81AD}">
          <p14:sldIdLst>
            <p14:sldId id="10013"/>
            <p14:sldId id="2147471530"/>
            <p14:sldId id="323"/>
            <p14:sldId id="2147471543"/>
            <p14:sldId id="2147471532"/>
            <p14:sldId id="1246"/>
            <p14:sldId id="2147471545"/>
            <p14:sldId id="2147471528"/>
            <p14:sldId id="308"/>
            <p14:sldId id="2147471542"/>
            <p14:sldId id="2147471531"/>
            <p14:sldId id="2147471546"/>
            <p14:sldId id="2147471547"/>
            <p14:sldId id="2147471551"/>
            <p14:sldId id="2147471548"/>
            <p14:sldId id="2147471549"/>
            <p14:sldId id="2134806268"/>
            <p14:sldId id="2134806235"/>
          </p14:sldIdLst>
        </p14:section>
      </p14:sectionLst>
    </p:ext>
    <p:ext uri="{EFAFB233-063F-42B5-8137-9DF3F51BA10A}">
      <p15:sldGuideLst xmlns:p15="http://schemas.microsoft.com/office/powerpoint/2012/main">
        <p15:guide id="1" orient="horz" pos="237">
          <p15:clr>
            <a:srgbClr val="A4A3A4"/>
          </p15:clr>
        </p15:guide>
        <p15:guide id="2" orient="horz" pos="862">
          <p15:clr>
            <a:srgbClr val="A4A3A4"/>
          </p15:clr>
        </p15:guide>
        <p15:guide id="3" orient="horz" pos="3004">
          <p15:clr>
            <a:srgbClr val="A4A3A4"/>
          </p15:clr>
        </p15:guide>
        <p15:guide id="4" orient="horz" pos="2785">
          <p15:clr>
            <a:srgbClr val="A4A3A4"/>
          </p15:clr>
        </p15:guide>
        <p15:guide id="5" pos="986">
          <p15:clr>
            <a:srgbClr val="A4A3A4"/>
          </p15:clr>
        </p15:guide>
        <p15:guide id="6" pos="1146">
          <p15:clr>
            <a:srgbClr val="A4A3A4"/>
          </p15:clr>
        </p15:guide>
        <p15:guide id="7" pos="1894">
          <p15:clr>
            <a:srgbClr val="A4A3A4"/>
          </p15:clr>
        </p15:guide>
        <p15:guide id="8" pos="2053">
          <p15:clr>
            <a:srgbClr val="A4A3A4"/>
          </p15:clr>
        </p15:guide>
        <p15:guide id="9" pos="2801">
          <p15:clr>
            <a:srgbClr val="A4A3A4"/>
          </p15:clr>
        </p15:guide>
        <p15:guide id="10" pos="2960">
          <p15:clr>
            <a:srgbClr val="A4A3A4"/>
          </p15:clr>
        </p15:guide>
        <p15:guide id="11" pos="3707">
          <p15:clr>
            <a:srgbClr val="A4A3A4"/>
          </p15:clr>
        </p15:guide>
        <p15:guide id="12" pos="3866">
          <p15:clr>
            <a:srgbClr val="A4A3A4"/>
          </p15:clr>
        </p15:guide>
        <p15:guide id="13" pos="4614">
          <p15:clr>
            <a:srgbClr val="A4A3A4"/>
          </p15:clr>
        </p15:guide>
        <p15:guide id="14" pos="4773">
          <p15:clr>
            <a:srgbClr val="A4A3A4"/>
          </p15:clr>
        </p15:guide>
        <p15:guide id="15" pos="5522">
          <p15:clr>
            <a:srgbClr val="A4A3A4"/>
          </p15:clr>
        </p15:guide>
        <p15:guide id="16" pos="23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1C0A"/>
    <a:srgbClr val="FFFFFF"/>
    <a:srgbClr val="5CC1CB"/>
    <a:srgbClr val="000000"/>
    <a:srgbClr val="E3E000"/>
    <a:srgbClr val="B004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BAD892-9C81-4172-BB3A-CAEEC69685CC}" v="5" dt="2022-09-26T07:38:51.137"/>
    <p1510:client id="{253E80B5-FE24-423B-8FBA-4C6FC63B3FDB}" v="2" dt="2022-11-01T12:14:24.709"/>
    <p1510:client id="{5019A6F2-18FA-4D58-9003-C27B52F6D441}" vWet="4" dt="2022-09-26T06:48:37.353"/>
    <p1510:client id="{D4AAA217-9C71-432A-8D33-9EC4EA386D02}" v="2" dt="2022-11-25T23:36:46.887"/>
    <p1510:client id="{F6DD84B3-4AFB-4C1F-952C-203E3B20DA47}" v="109" vWet="113" dt="2022-09-26T07:34:19.2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37"/>
        <p:guide orient="horz" pos="862"/>
        <p:guide orient="horz" pos="3004"/>
        <p:guide orient="horz" pos="2785"/>
        <p:guide pos="986"/>
        <p:guide pos="1146"/>
        <p:guide pos="1894"/>
        <p:guide pos="2053"/>
        <p:guide pos="2801"/>
        <p:guide pos="2960"/>
        <p:guide pos="3707"/>
        <p:guide pos="3866"/>
        <p:guide pos="4614"/>
        <p:guide pos="4773"/>
        <p:guide pos="5522"/>
        <p:guide pos="237"/>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abolotna, Kateryna" userId="724a1d14-7a1d-4ba3-a47b-ab98eba40d1a" providerId="ADAL" clId="{42FF804E-5648-4342-A39E-C38A6C181F7D}"/>
    <pc:docChg chg="undo custSel addSld delSld modSld sldOrd modSection">
      <pc:chgData name="Zabolotna, Kateryna" userId="724a1d14-7a1d-4ba3-a47b-ab98eba40d1a" providerId="ADAL" clId="{42FF804E-5648-4342-A39E-C38A6C181F7D}" dt="2022-08-05T14:13:10.365" v="4599" actId="478"/>
      <pc:docMkLst>
        <pc:docMk/>
      </pc:docMkLst>
      <pc:sldChg chg="modSp add del mod ord modShow">
        <pc:chgData name="Zabolotna, Kateryna" userId="724a1d14-7a1d-4ba3-a47b-ab98eba40d1a" providerId="ADAL" clId="{42FF804E-5648-4342-A39E-C38A6C181F7D}" dt="2022-07-28T08:18:47.568" v="3347" actId="2696"/>
        <pc:sldMkLst>
          <pc:docMk/>
          <pc:sldMk cId="0" sldId="256"/>
        </pc:sldMkLst>
        <pc:spChg chg="mod">
          <ac:chgData name="Zabolotna, Kateryna" userId="724a1d14-7a1d-4ba3-a47b-ab98eba40d1a" providerId="ADAL" clId="{42FF804E-5648-4342-A39E-C38A6C181F7D}" dt="2022-07-28T07:46:50.987" v="3114" actId="20577"/>
          <ac:spMkLst>
            <pc:docMk/>
            <pc:sldMk cId="0" sldId="256"/>
            <ac:spMk id="54" creationId="{3283926E-95EE-4E4A-B9DF-3CDB08127369}"/>
          </ac:spMkLst>
        </pc:spChg>
        <pc:spChg chg="mod">
          <ac:chgData name="Zabolotna, Kateryna" userId="724a1d14-7a1d-4ba3-a47b-ab98eba40d1a" providerId="ADAL" clId="{42FF804E-5648-4342-A39E-C38A6C181F7D}" dt="2022-07-28T07:56:31.412" v="3225" actId="20577"/>
          <ac:spMkLst>
            <pc:docMk/>
            <pc:sldMk cId="0" sldId="256"/>
            <ac:spMk id="57" creationId="{58BC8F93-01AC-4409-861A-E8D6D641504A}"/>
          </ac:spMkLst>
        </pc:spChg>
        <pc:picChg chg="mod">
          <ac:chgData name="Zabolotna, Kateryna" userId="724a1d14-7a1d-4ba3-a47b-ab98eba40d1a" providerId="ADAL" clId="{42FF804E-5648-4342-A39E-C38A6C181F7D}" dt="2022-07-18T11:50:55.367" v="1152" actId="1076"/>
          <ac:picMkLst>
            <pc:docMk/>
            <pc:sldMk cId="0" sldId="256"/>
            <ac:picMk id="69" creationId="{28C0A872-D9E7-43E3-97EC-F1605D4B56AB}"/>
          </ac:picMkLst>
        </pc:picChg>
      </pc:sldChg>
      <pc:sldChg chg="addSp delSp modSp add mod modTransition delAnim modAnim">
        <pc:chgData name="Zabolotna, Kateryna" userId="724a1d14-7a1d-4ba3-a47b-ab98eba40d1a" providerId="ADAL" clId="{42FF804E-5648-4342-A39E-C38A6C181F7D}" dt="2022-08-05T14:13:10.365" v="4599" actId="478"/>
        <pc:sldMkLst>
          <pc:docMk/>
          <pc:sldMk cId="1533911357" sldId="308"/>
        </pc:sldMkLst>
        <pc:spChg chg="mod">
          <ac:chgData name="Zabolotna, Kateryna" userId="724a1d14-7a1d-4ba3-a47b-ab98eba40d1a" providerId="ADAL" clId="{42FF804E-5648-4342-A39E-C38A6C181F7D}" dt="2022-08-05T09:16:19.106" v="3465" actId="1076"/>
          <ac:spMkLst>
            <pc:docMk/>
            <pc:sldMk cId="1533911357" sldId="308"/>
            <ac:spMk id="2" creationId="{00000000-0000-0000-0000-000000000000}"/>
          </ac:spMkLst>
        </pc:spChg>
        <pc:spChg chg="add del mod">
          <ac:chgData name="Zabolotna, Kateryna" userId="724a1d14-7a1d-4ba3-a47b-ab98eba40d1a" providerId="ADAL" clId="{42FF804E-5648-4342-A39E-C38A6C181F7D}" dt="2022-07-27T21:18:21.885" v="2620" actId="478"/>
          <ac:spMkLst>
            <pc:docMk/>
            <pc:sldMk cId="1533911357" sldId="308"/>
            <ac:spMk id="3" creationId="{4E1E2A77-F197-66F4-DDED-7FC8AC1EE99A}"/>
          </ac:spMkLst>
        </pc:spChg>
        <pc:spChg chg="add del mod">
          <ac:chgData name="Zabolotna, Kateryna" userId="724a1d14-7a1d-4ba3-a47b-ab98eba40d1a" providerId="ADAL" clId="{42FF804E-5648-4342-A39E-C38A6C181F7D}" dt="2022-07-27T21:18:18.611" v="2619" actId="478"/>
          <ac:spMkLst>
            <pc:docMk/>
            <pc:sldMk cId="1533911357" sldId="308"/>
            <ac:spMk id="4" creationId="{629FDE4F-CDBB-068D-86EA-7968A0172B1F}"/>
          </ac:spMkLst>
        </pc:spChg>
        <pc:spChg chg="add mod">
          <ac:chgData name="Zabolotna, Kateryna" userId="724a1d14-7a1d-4ba3-a47b-ab98eba40d1a" providerId="ADAL" clId="{42FF804E-5648-4342-A39E-C38A6C181F7D}" dt="2022-08-05T09:27:03.332" v="3539" actId="14100"/>
          <ac:spMkLst>
            <pc:docMk/>
            <pc:sldMk cId="1533911357" sldId="308"/>
            <ac:spMk id="5" creationId="{B93EDA20-3768-C6C3-E196-94209FCD4D0A}"/>
          </ac:spMkLst>
        </pc:spChg>
        <pc:spChg chg="mod">
          <ac:chgData name="Zabolotna, Kateryna" userId="724a1d14-7a1d-4ba3-a47b-ab98eba40d1a" providerId="ADAL" clId="{42FF804E-5648-4342-A39E-C38A6C181F7D}" dt="2022-08-05T09:04:13.312" v="3356" actId="14100"/>
          <ac:spMkLst>
            <pc:docMk/>
            <pc:sldMk cId="1533911357" sldId="308"/>
            <ac:spMk id="6" creationId="{00000000-0000-0000-0000-000000000000}"/>
          </ac:spMkLst>
        </pc:spChg>
        <pc:spChg chg="add mod">
          <ac:chgData name="Zabolotna, Kateryna" userId="724a1d14-7a1d-4ba3-a47b-ab98eba40d1a" providerId="ADAL" clId="{42FF804E-5648-4342-A39E-C38A6C181F7D}" dt="2022-08-05T09:15:23.879" v="3431" actId="1036"/>
          <ac:spMkLst>
            <pc:docMk/>
            <pc:sldMk cId="1533911357" sldId="308"/>
            <ac:spMk id="7" creationId="{8331DD3E-711B-73AD-6517-A3FDB93473A6}"/>
          </ac:spMkLst>
        </pc:spChg>
        <pc:spChg chg="add del mod">
          <ac:chgData name="Zabolotna, Kateryna" userId="724a1d14-7a1d-4ba3-a47b-ab98eba40d1a" providerId="ADAL" clId="{42FF804E-5648-4342-A39E-C38A6C181F7D}" dt="2022-08-05T09:13:45.394" v="3399" actId="478"/>
          <ac:spMkLst>
            <pc:docMk/>
            <pc:sldMk cId="1533911357" sldId="308"/>
            <ac:spMk id="8" creationId="{6F54234C-44A5-C691-5BEC-FC02A9C72130}"/>
          </ac:spMkLst>
        </pc:spChg>
        <pc:spChg chg="mod">
          <ac:chgData name="Zabolotna, Kateryna" userId="724a1d14-7a1d-4ba3-a47b-ab98eba40d1a" providerId="ADAL" clId="{42FF804E-5648-4342-A39E-C38A6C181F7D}" dt="2022-08-05T09:04:13.312" v="3356" actId="14100"/>
          <ac:spMkLst>
            <pc:docMk/>
            <pc:sldMk cId="1533911357" sldId="308"/>
            <ac:spMk id="9" creationId="{00000000-0000-0000-0000-000000000000}"/>
          </ac:spMkLst>
        </pc:spChg>
        <pc:spChg chg="mod">
          <ac:chgData name="Zabolotna, Kateryna" userId="724a1d14-7a1d-4ba3-a47b-ab98eba40d1a" providerId="ADAL" clId="{42FF804E-5648-4342-A39E-C38A6C181F7D}" dt="2022-08-05T09:04:13.312" v="3356" actId="14100"/>
          <ac:spMkLst>
            <pc:docMk/>
            <pc:sldMk cId="1533911357" sldId="308"/>
            <ac:spMk id="10" creationId="{00000000-0000-0000-0000-000000000000}"/>
          </ac:spMkLst>
        </pc:spChg>
        <pc:spChg chg="mod">
          <ac:chgData name="Zabolotna, Kateryna" userId="724a1d14-7a1d-4ba3-a47b-ab98eba40d1a" providerId="ADAL" clId="{42FF804E-5648-4342-A39E-C38A6C181F7D}" dt="2022-08-05T09:04:13.312" v="3356" actId="14100"/>
          <ac:spMkLst>
            <pc:docMk/>
            <pc:sldMk cId="1533911357" sldId="308"/>
            <ac:spMk id="11" creationId="{00000000-0000-0000-0000-000000000000}"/>
          </ac:spMkLst>
        </pc:spChg>
        <pc:spChg chg="mod">
          <ac:chgData name="Zabolotna, Kateryna" userId="724a1d14-7a1d-4ba3-a47b-ab98eba40d1a" providerId="ADAL" clId="{42FF804E-5648-4342-A39E-C38A6C181F7D}" dt="2022-08-05T09:04:13.312" v="3356" actId="14100"/>
          <ac:spMkLst>
            <pc:docMk/>
            <pc:sldMk cId="1533911357" sldId="308"/>
            <ac:spMk id="12" creationId="{00000000-0000-0000-0000-000000000000}"/>
          </ac:spMkLst>
        </pc:spChg>
        <pc:spChg chg="add del mod">
          <ac:chgData name="Zabolotna, Kateryna" userId="724a1d14-7a1d-4ba3-a47b-ab98eba40d1a" providerId="ADAL" clId="{42FF804E-5648-4342-A39E-C38A6C181F7D}" dt="2022-08-05T09:04:13.312" v="3356" actId="14100"/>
          <ac:spMkLst>
            <pc:docMk/>
            <pc:sldMk cId="1533911357" sldId="308"/>
            <ac:spMk id="13" creationId="{00000000-0000-0000-0000-000000000000}"/>
          </ac:spMkLst>
        </pc:spChg>
        <pc:spChg chg="add mod">
          <ac:chgData name="Zabolotna, Kateryna" userId="724a1d14-7a1d-4ba3-a47b-ab98eba40d1a" providerId="ADAL" clId="{42FF804E-5648-4342-A39E-C38A6C181F7D}" dt="2022-08-05T09:15:23.879" v="3431" actId="1036"/>
          <ac:spMkLst>
            <pc:docMk/>
            <pc:sldMk cId="1533911357" sldId="308"/>
            <ac:spMk id="14" creationId="{D56FC791-0B09-66F1-87BA-1F7595BAE1EF}"/>
          </ac:spMkLst>
        </pc:spChg>
        <pc:spChg chg="add mod">
          <ac:chgData name="Zabolotna, Kateryna" userId="724a1d14-7a1d-4ba3-a47b-ab98eba40d1a" providerId="ADAL" clId="{42FF804E-5648-4342-A39E-C38A6C181F7D}" dt="2022-08-05T09:15:23.879" v="3431" actId="1036"/>
          <ac:spMkLst>
            <pc:docMk/>
            <pc:sldMk cId="1533911357" sldId="308"/>
            <ac:spMk id="16" creationId="{B02CFB14-DD68-E06C-A692-7682869FF40D}"/>
          </ac:spMkLst>
        </pc:spChg>
        <pc:spChg chg="add mod">
          <ac:chgData name="Zabolotna, Kateryna" userId="724a1d14-7a1d-4ba3-a47b-ab98eba40d1a" providerId="ADAL" clId="{42FF804E-5648-4342-A39E-C38A6C181F7D}" dt="2022-08-05T09:15:23.879" v="3431" actId="1036"/>
          <ac:spMkLst>
            <pc:docMk/>
            <pc:sldMk cId="1533911357" sldId="308"/>
            <ac:spMk id="17" creationId="{2858ADF0-ED08-5284-06B0-6D34EEC25EA4}"/>
          </ac:spMkLst>
        </pc:spChg>
        <pc:spChg chg="add mod">
          <ac:chgData name="Zabolotna, Kateryna" userId="724a1d14-7a1d-4ba3-a47b-ab98eba40d1a" providerId="ADAL" clId="{42FF804E-5648-4342-A39E-C38A6C181F7D}" dt="2022-08-05T09:15:23.879" v="3431" actId="1036"/>
          <ac:spMkLst>
            <pc:docMk/>
            <pc:sldMk cId="1533911357" sldId="308"/>
            <ac:spMk id="18" creationId="{2B487FBB-7E00-6C89-5B5E-43506A2FBD1E}"/>
          </ac:spMkLst>
        </pc:spChg>
        <pc:spChg chg="add mod">
          <ac:chgData name="Zabolotna, Kateryna" userId="724a1d14-7a1d-4ba3-a47b-ab98eba40d1a" providerId="ADAL" clId="{42FF804E-5648-4342-A39E-C38A6C181F7D}" dt="2022-08-05T09:15:23.879" v="3431" actId="1036"/>
          <ac:spMkLst>
            <pc:docMk/>
            <pc:sldMk cId="1533911357" sldId="308"/>
            <ac:spMk id="20" creationId="{3AA16958-DD25-6B95-DC9E-A2C72076BAD7}"/>
          </ac:spMkLst>
        </pc:spChg>
        <pc:spChg chg="mod">
          <ac:chgData name="Zabolotna, Kateryna" userId="724a1d14-7a1d-4ba3-a47b-ab98eba40d1a" providerId="ADAL" clId="{42FF804E-5648-4342-A39E-C38A6C181F7D}" dt="2022-08-05T09:14:53.095" v="3407" actId="1076"/>
          <ac:spMkLst>
            <pc:docMk/>
            <pc:sldMk cId="1533911357" sldId="308"/>
            <ac:spMk id="27" creationId="{00000000-0000-0000-0000-000000000000}"/>
          </ac:spMkLst>
        </pc:spChg>
        <pc:spChg chg="del">
          <ac:chgData name="Zabolotna, Kateryna" userId="724a1d14-7a1d-4ba3-a47b-ab98eba40d1a" providerId="ADAL" clId="{42FF804E-5648-4342-A39E-C38A6C181F7D}" dt="2022-07-27T21:19:37.585" v="2639" actId="478"/>
          <ac:spMkLst>
            <pc:docMk/>
            <pc:sldMk cId="1533911357" sldId="308"/>
            <ac:spMk id="28" creationId="{00000000-0000-0000-0000-000000000000}"/>
          </ac:spMkLst>
        </pc:spChg>
        <pc:spChg chg="del">
          <ac:chgData name="Zabolotna, Kateryna" userId="724a1d14-7a1d-4ba3-a47b-ab98eba40d1a" providerId="ADAL" clId="{42FF804E-5648-4342-A39E-C38A6C181F7D}" dt="2022-07-27T21:19:40.889" v="2640" actId="478"/>
          <ac:spMkLst>
            <pc:docMk/>
            <pc:sldMk cId="1533911357" sldId="308"/>
            <ac:spMk id="29" creationId="{00000000-0000-0000-0000-000000000000}"/>
          </ac:spMkLst>
        </pc:spChg>
        <pc:spChg chg="del">
          <ac:chgData name="Zabolotna, Kateryna" userId="724a1d14-7a1d-4ba3-a47b-ab98eba40d1a" providerId="ADAL" clId="{42FF804E-5648-4342-A39E-C38A6C181F7D}" dt="2022-07-27T21:19:43.601" v="2641" actId="478"/>
          <ac:spMkLst>
            <pc:docMk/>
            <pc:sldMk cId="1533911357" sldId="308"/>
            <ac:spMk id="30" creationId="{00000000-0000-0000-0000-000000000000}"/>
          </ac:spMkLst>
        </pc:spChg>
        <pc:spChg chg="del">
          <ac:chgData name="Zabolotna, Kateryna" userId="724a1d14-7a1d-4ba3-a47b-ab98eba40d1a" providerId="ADAL" clId="{42FF804E-5648-4342-A39E-C38A6C181F7D}" dt="2022-07-27T21:19:46.084" v="2642" actId="478"/>
          <ac:spMkLst>
            <pc:docMk/>
            <pc:sldMk cId="1533911357" sldId="308"/>
            <ac:spMk id="31" creationId="{00000000-0000-0000-0000-000000000000}"/>
          </ac:spMkLst>
        </pc:spChg>
        <pc:spChg chg="del">
          <ac:chgData name="Zabolotna, Kateryna" userId="724a1d14-7a1d-4ba3-a47b-ab98eba40d1a" providerId="ADAL" clId="{42FF804E-5648-4342-A39E-C38A6C181F7D}" dt="2022-07-27T21:19:49.935" v="2643" actId="478"/>
          <ac:spMkLst>
            <pc:docMk/>
            <pc:sldMk cId="1533911357" sldId="308"/>
            <ac:spMk id="32" creationId="{00000000-0000-0000-0000-000000000000}"/>
          </ac:spMkLst>
        </pc:spChg>
        <pc:spChg chg="del">
          <ac:chgData name="Zabolotna, Kateryna" userId="724a1d14-7a1d-4ba3-a47b-ab98eba40d1a" providerId="ADAL" clId="{42FF804E-5648-4342-A39E-C38A6C181F7D}" dt="2022-07-27T21:15:30.798" v="2483" actId="478"/>
          <ac:spMkLst>
            <pc:docMk/>
            <pc:sldMk cId="1533911357" sldId="308"/>
            <ac:spMk id="33" creationId="{00000000-0000-0000-0000-000000000000}"/>
          </ac:spMkLst>
        </pc:spChg>
        <pc:spChg chg="del">
          <ac:chgData name="Zabolotna, Kateryna" userId="724a1d14-7a1d-4ba3-a47b-ab98eba40d1a" providerId="ADAL" clId="{42FF804E-5648-4342-A39E-C38A6C181F7D}" dt="2022-07-27T21:35:25.417" v="2977" actId="478"/>
          <ac:spMkLst>
            <pc:docMk/>
            <pc:sldMk cId="1533911357" sldId="308"/>
            <ac:spMk id="34" creationId="{00000000-0000-0000-0000-000000000000}"/>
          </ac:spMkLst>
        </pc:spChg>
        <pc:spChg chg="del">
          <ac:chgData name="Zabolotna, Kateryna" userId="724a1d14-7a1d-4ba3-a47b-ab98eba40d1a" providerId="ADAL" clId="{42FF804E-5648-4342-A39E-C38A6C181F7D}" dt="2022-07-27T21:22:17.736" v="2697" actId="478"/>
          <ac:spMkLst>
            <pc:docMk/>
            <pc:sldMk cId="1533911357" sldId="308"/>
            <ac:spMk id="36" creationId="{00000000-0000-0000-0000-000000000000}"/>
          </ac:spMkLst>
        </pc:spChg>
        <pc:spChg chg="del mod">
          <ac:chgData name="Zabolotna, Kateryna" userId="724a1d14-7a1d-4ba3-a47b-ab98eba40d1a" providerId="ADAL" clId="{42FF804E-5648-4342-A39E-C38A6C181F7D}" dt="2022-07-27T21:19:28.436" v="2632" actId="478"/>
          <ac:spMkLst>
            <pc:docMk/>
            <pc:sldMk cId="1533911357" sldId="308"/>
            <ac:spMk id="37" creationId="{00000000-0000-0000-0000-000000000000}"/>
          </ac:spMkLst>
        </pc:spChg>
        <pc:spChg chg="del">
          <ac:chgData name="Zabolotna, Kateryna" userId="724a1d14-7a1d-4ba3-a47b-ab98eba40d1a" providerId="ADAL" clId="{42FF804E-5648-4342-A39E-C38A6C181F7D}" dt="2022-07-27T21:35:29.529" v="2978" actId="478"/>
          <ac:spMkLst>
            <pc:docMk/>
            <pc:sldMk cId="1533911357" sldId="308"/>
            <ac:spMk id="38" creationId="{00000000-0000-0000-0000-000000000000}"/>
          </ac:spMkLst>
        </pc:spChg>
        <pc:spChg chg="del mod topLvl">
          <ac:chgData name="Zabolotna, Kateryna" userId="724a1d14-7a1d-4ba3-a47b-ab98eba40d1a" providerId="ADAL" clId="{42FF804E-5648-4342-A39E-C38A6C181F7D}" dt="2022-08-05T09:12:59.591" v="3379" actId="478"/>
          <ac:spMkLst>
            <pc:docMk/>
            <pc:sldMk cId="1533911357" sldId="308"/>
            <ac:spMk id="38" creationId="{14795E78-53BA-BC54-68CE-DE26E5626837}"/>
          </ac:spMkLst>
        </pc:spChg>
        <pc:spChg chg="add mod">
          <ac:chgData name="Zabolotna, Kateryna" userId="724a1d14-7a1d-4ba3-a47b-ab98eba40d1a" providerId="ADAL" clId="{42FF804E-5648-4342-A39E-C38A6C181F7D}" dt="2022-08-05T09:15:23.879" v="3431" actId="1036"/>
          <ac:spMkLst>
            <pc:docMk/>
            <pc:sldMk cId="1533911357" sldId="308"/>
            <ac:spMk id="39" creationId="{5B8FB1CB-DE8D-C211-F06D-AAFAF9151ADF}"/>
          </ac:spMkLst>
        </pc:spChg>
        <pc:spChg chg="add del mod">
          <ac:chgData name="Zabolotna, Kateryna" userId="724a1d14-7a1d-4ba3-a47b-ab98eba40d1a" providerId="ADAL" clId="{42FF804E-5648-4342-A39E-C38A6C181F7D}" dt="2022-07-27T21:24:33.299" v="2719" actId="478"/>
          <ac:spMkLst>
            <pc:docMk/>
            <pc:sldMk cId="1533911357" sldId="308"/>
            <ac:spMk id="41" creationId="{1BAF2ED5-2F43-AAEA-DA80-ACF52F5CDCD0}"/>
          </ac:spMkLst>
        </pc:spChg>
        <pc:spChg chg="add mod">
          <ac:chgData name="Zabolotna, Kateryna" userId="724a1d14-7a1d-4ba3-a47b-ab98eba40d1a" providerId="ADAL" clId="{42FF804E-5648-4342-A39E-C38A6C181F7D}" dt="2022-08-05T09:27:55.785" v="3574" actId="14100"/>
          <ac:spMkLst>
            <pc:docMk/>
            <pc:sldMk cId="1533911357" sldId="308"/>
            <ac:spMk id="42" creationId="{5D20A12A-5C27-CBC8-A929-3E5B4B8C1739}"/>
          </ac:spMkLst>
        </pc:spChg>
        <pc:spChg chg="del mod topLvl">
          <ac:chgData name="Zabolotna, Kateryna" userId="724a1d14-7a1d-4ba3-a47b-ab98eba40d1a" providerId="ADAL" clId="{42FF804E-5648-4342-A39E-C38A6C181F7D}" dt="2022-08-05T09:12:20.484" v="3369" actId="478"/>
          <ac:spMkLst>
            <pc:docMk/>
            <pc:sldMk cId="1533911357" sldId="308"/>
            <ac:spMk id="47" creationId="{D26F2945-A686-717B-C286-4216B2193673}"/>
          </ac:spMkLst>
        </pc:spChg>
        <pc:spChg chg="del mod topLvl">
          <ac:chgData name="Zabolotna, Kateryna" userId="724a1d14-7a1d-4ba3-a47b-ab98eba40d1a" providerId="ADAL" clId="{42FF804E-5648-4342-A39E-C38A6C181F7D}" dt="2022-08-05T09:12:10.354" v="3366" actId="478"/>
          <ac:spMkLst>
            <pc:docMk/>
            <pc:sldMk cId="1533911357" sldId="308"/>
            <ac:spMk id="54" creationId="{DE152722-2235-3A7C-CF63-4A19FE636F8B}"/>
          </ac:spMkLst>
        </pc:spChg>
        <pc:spChg chg="add mod">
          <ac:chgData name="Zabolotna, Kateryna" userId="724a1d14-7a1d-4ba3-a47b-ab98eba40d1a" providerId="ADAL" clId="{42FF804E-5648-4342-A39E-C38A6C181F7D}" dt="2022-08-05T14:13:02.229" v="4597" actId="1076"/>
          <ac:spMkLst>
            <pc:docMk/>
            <pc:sldMk cId="1533911357" sldId="308"/>
            <ac:spMk id="61" creationId="{C6D2EB95-8E83-A77E-E78E-DA5C56F8F946}"/>
          </ac:spMkLst>
        </pc:spChg>
        <pc:spChg chg="add mod">
          <ac:chgData name="Zabolotna, Kateryna" userId="724a1d14-7a1d-4ba3-a47b-ab98eba40d1a" providerId="ADAL" clId="{42FF804E-5648-4342-A39E-C38A6C181F7D}" dt="2022-08-05T13:56:41.172" v="4266" actId="20577"/>
          <ac:spMkLst>
            <pc:docMk/>
            <pc:sldMk cId="1533911357" sldId="308"/>
            <ac:spMk id="63" creationId="{721F8BFF-DB79-6845-73EF-B43FF4660904}"/>
          </ac:spMkLst>
        </pc:spChg>
        <pc:spChg chg="add del mod">
          <ac:chgData name="Zabolotna, Kateryna" userId="724a1d14-7a1d-4ba3-a47b-ab98eba40d1a" providerId="ADAL" clId="{42FF804E-5648-4342-A39E-C38A6C181F7D}" dt="2022-08-05T09:15:03.031" v="3409" actId="478"/>
          <ac:spMkLst>
            <pc:docMk/>
            <pc:sldMk cId="1533911357" sldId="308"/>
            <ac:spMk id="64" creationId="{B6F5289C-294B-402F-5CF1-4E40FAAE58CE}"/>
          </ac:spMkLst>
        </pc:spChg>
        <pc:spChg chg="add del mod">
          <ac:chgData name="Zabolotna, Kateryna" userId="724a1d14-7a1d-4ba3-a47b-ab98eba40d1a" providerId="ADAL" clId="{42FF804E-5648-4342-A39E-C38A6C181F7D}" dt="2022-08-05T09:04:56.527" v="3358" actId="478"/>
          <ac:spMkLst>
            <pc:docMk/>
            <pc:sldMk cId="1533911357" sldId="308"/>
            <ac:spMk id="73" creationId="{CA0EFA6E-198B-D271-A8B0-C6D8184B5FE1}"/>
          </ac:spMkLst>
        </pc:spChg>
        <pc:spChg chg="add mod">
          <ac:chgData name="Zabolotna, Kateryna" userId="724a1d14-7a1d-4ba3-a47b-ab98eba40d1a" providerId="ADAL" clId="{42FF804E-5648-4342-A39E-C38A6C181F7D}" dt="2022-08-05T14:12:53.070" v="4595" actId="1076"/>
          <ac:spMkLst>
            <pc:docMk/>
            <pc:sldMk cId="1533911357" sldId="308"/>
            <ac:spMk id="74" creationId="{7A801028-DF5B-5C83-7C42-94B6D4BCB816}"/>
          </ac:spMkLst>
        </pc:spChg>
        <pc:spChg chg="add mod">
          <ac:chgData name="Zabolotna, Kateryna" userId="724a1d14-7a1d-4ba3-a47b-ab98eba40d1a" providerId="ADAL" clId="{42FF804E-5648-4342-A39E-C38A6C181F7D}" dt="2022-08-05T09:15:23.879" v="3431" actId="1036"/>
          <ac:spMkLst>
            <pc:docMk/>
            <pc:sldMk cId="1533911357" sldId="308"/>
            <ac:spMk id="75" creationId="{1F54BCF3-F874-7FDC-3088-27E30318314C}"/>
          </ac:spMkLst>
        </pc:spChg>
        <pc:spChg chg="del mod topLvl">
          <ac:chgData name="Zabolotna, Kateryna" userId="724a1d14-7a1d-4ba3-a47b-ab98eba40d1a" providerId="ADAL" clId="{42FF804E-5648-4342-A39E-C38A6C181F7D}" dt="2022-08-05T09:14:44.125" v="3405" actId="478"/>
          <ac:spMkLst>
            <pc:docMk/>
            <pc:sldMk cId="1533911357" sldId="308"/>
            <ac:spMk id="76" creationId="{4B17FD7D-6628-5AA3-488B-D12FB9FFF618}"/>
          </ac:spMkLst>
        </pc:spChg>
        <pc:spChg chg="del mod topLvl">
          <ac:chgData name="Zabolotna, Kateryna" userId="724a1d14-7a1d-4ba3-a47b-ab98eba40d1a" providerId="ADAL" clId="{42FF804E-5648-4342-A39E-C38A6C181F7D}" dt="2022-08-05T09:18:22.082" v="3470" actId="478"/>
          <ac:spMkLst>
            <pc:docMk/>
            <pc:sldMk cId="1533911357" sldId="308"/>
            <ac:spMk id="79" creationId="{F9BD4761-93B8-F63D-1EC7-D3569798CE36}"/>
          </ac:spMkLst>
        </pc:spChg>
        <pc:spChg chg="mod">
          <ac:chgData name="Zabolotna, Kateryna" userId="724a1d14-7a1d-4ba3-a47b-ab98eba40d1a" providerId="ADAL" clId="{42FF804E-5648-4342-A39E-C38A6C181F7D}" dt="2022-08-05T09:20:42.549" v="3480"/>
          <ac:spMkLst>
            <pc:docMk/>
            <pc:sldMk cId="1533911357" sldId="308"/>
            <ac:spMk id="85" creationId="{A9BDAC54-B294-140C-88A5-B0177E999EFF}"/>
          </ac:spMkLst>
        </pc:spChg>
        <pc:spChg chg="del mod topLvl">
          <ac:chgData name="Zabolotna, Kateryna" userId="724a1d14-7a1d-4ba3-a47b-ab98eba40d1a" providerId="ADAL" clId="{42FF804E-5648-4342-A39E-C38A6C181F7D}" dt="2022-08-05T09:22:25.261" v="3491" actId="478"/>
          <ac:spMkLst>
            <pc:docMk/>
            <pc:sldMk cId="1533911357" sldId="308"/>
            <ac:spMk id="88" creationId="{C635A843-3E1B-1BBA-E50D-B8710DB809CC}"/>
          </ac:spMkLst>
        </pc:spChg>
        <pc:spChg chg="del mod">
          <ac:chgData name="Zabolotna, Kateryna" userId="724a1d14-7a1d-4ba3-a47b-ab98eba40d1a" providerId="ADAL" clId="{42FF804E-5648-4342-A39E-C38A6C181F7D}" dt="2022-08-05T09:23:01.450" v="3497" actId="478"/>
          <ac:spMkLst>
            <pc:docMk/>
            <pc:sldMk cId="1533911357" sldId="308"/>
            <ac:spMk id="91" creationId="{9CD367F1-ED61-4935-A1DD-8A1446AAADC3}"/>
          </ac:spMkLst>
        </pc:spChg>
        <pc:spChg chg="del mod topLvl">
          <ac:chgData name="Zabolotna, Kateryna" userId="724a1d14-7a1d-4ba3-a47b-ab98eba40d1a" providerId="ADAL" clId="{42FF804E-5648-4342-A39E-C38A6C181F7D}" dt="2022-08-05T09:23:05.061" v="3498" actId="478"/>
          <ac:spMkLst>
            <pc:docMk/>
            <pc:sldMk cId="1533911357" sldId="308"/>
            <ac:spMk id="92" creationId="{6DAD769B-B4E0-6AE5-F77A-995FB29EDF7B}"/>
          </ac:spMkLst>
        </pc:spChg>
        <pc:spChg chg="del mod topLvl">
          <ac:chgData name="Zabolotna, Kateryna" userId="724a1d14-7a1d-4ba3-a47b-ab98eba40d1a" providerId="ADAL" clId="{42FF804E-5648-4342-A39E-C38A6C181F7D}" dt="2022-08-05T09:23:31.343" v="3505" actId="478"/>
          <ac:spMkLst>
            <pc:docMk/>
            <pc:sldMk cId="1533911357" sldId="308"/>
            <ac:spMk id="95" creationId="{2E65DA15-8351-2F1C-364B-64FED6324399}"/>
          </ac:spMkLst>
        </pc:spChg>
        <pc:spChg chg="del mod topLvl">
          <ac:chgData name="Zabolotna, Kateryna" userId="724a1d14-7a1d-4ba3-a47b-ab98eba40d1a" providerId="ADAL" clId="{42FF804E-5648-4342-A39E-C38A6C181F7D}" dt="2022-08-05T09:22:14.989" v="3486" actId="478"/>
          <ac:spMkLst>
            <pc:docMk/>
            <pc:sldMk cId="1533911357" sldId="308"/>
            <ac:spMk id="98" creationId="{42D3EB1F-6A70-CD11-A65E-DD63A39843A7}"/>
          </ac:spMkLst>
        </pc:spChg>
        <pc:spChg chg="del mod topLvl">
          <ac:chgData name="Zabolotna, Kateryna" userId="724a1d14-7a1d-4ba3-a47b-ab98eba40d1a" providerId="ADAL" clId="{42FF804E-5648-4342-A39E-C38A6C181F7D}" dt="2022-08-05T09:24:49.354" v="3519" actId="478"/>
          <ac:spMkLst>
            <pc:docMk/>
            <pc:sldMk cId="1533911357" sldId="308"/>
            <ac:spMk id="101" creationId="{778806CA-D5E8-CAA1-27B1-CA51C5756A45}"/>
          </ac:spMkLst>
        </pc:spChg>
        <pc:spChg chg="add mod">
          <ac:chgData name="Zabolotna, Kateryna" userId="724a1d14-7a1d-4ba3-a47b-ab98eba40d1a" providerId="ADAL" clId="{42FF804E-5648-4342-A39E-C38A6C181F7D}" dt="2022-08-05T10:17:01.640" v="4222" actId="1036"/>
          <ac:spMkLst>
            <pc:docMk/>
            <pc:sldMk cId="1533911357" sldId="308"/>
            <ac:spMk id="106" creationId="{45B4660F-7DA8-6C39-7B8B-9E82751EA0D6}"/>
          </ac:spMkLst>
        </pc:spChg>
        <pc:spChg chg="add mod">
          <ac:chgData name="Zabolotna, Kateryna" userId="724a1d14-7a1d-4ba3-a47b-ab98eba40d1a" providerId="ADAL" clId="{42FF804E-5648-4342-A39E-C38A6C181F7D}" dt="2022-08-05T09:28:30.332" v="3609" actId="20577"/>
          <ac:spMkLst>
            <pc:docMk/>
            <pc:sldMk cId="1533911357" sldId="308"/>
            <ac:spMk id="107" creationId="{81A79406-3A9A-17F9-A235-D3DC267403CE}"/>
          </ac:spMkLst>
        </pc:spChg>
        <pc:spChg chg="add del">
          <ac:chgData name="Zabolotna, Kateryna" userId="724a1d14-7a1d-4ba3-a47b-ab98eba40d1a" providerId="ADAL" clId="{42FF804E-5648-4342-A39E-C38A6C181F7D}" dt="2022-08-05T13:55:46.228" v="4248" actId="478"/>
          <ac:spMkLst>
            <pc:docMk/>
            <pc:sldMk cId="1533911357" sldId="308"/>
            <ac:spMk id="113" creationId="{36CDD886-F497-BE36-E691-C3EB58EFA44F}"/>
          </ac:spMkLst>
        </pc:spChg>
        <pc:grpChg chg="add del mod">
          <ac:chgData name="Zabolotna, Kateryna" userId="724a1d14-7a1d-4ba3-a47b-ab98eba40d1a" providerId="ADAL" clId="{42FF804E-5648-4342-A39E-C38A6C181F7D}" dt="2022-08-05T09:12:59.591" v="3379" actId="478"/>
          <ac:grpSpMkLst>
            <pc:docMk/>
            <pc:sldMk cId="1533911357" sldId="308"/>
            <ac:grpSpMk id="36" creationId="{7976B034-AA87-C59A-7145-449502781BFE}"/>
          </ac:grpSpMkLst>
        </pc:grpChg>
        <pc:grpChg chg="add del mod">
          <ac:chgData name="Zabolotna, Kateryna" userId="724a1d14-7a1d-4ba3-a47b-ab98eba40d1a" providerId="ADAL" clId="{42FF804E-5648-4342-A39E-C38A6C181F7D}" dt="2022-08-05T09:12:20.484" v="3369" actId="478"/>
          <ac:grpSpMkLst>
            <pc:docMk/>
            <pc:sldMk cId="1533911357" sldId="308"/>
            <ac:grpSpMk id="41" creationId="{87503515-E5AA-D423-E3FA-F698CA9FAC9A}"/>
          </ac:grpSpMkLst>
        </pc:grpChg>
        <pc:grpChg chg="add del mod">
          <ac:chgData name="Zabolotna, Kateryna" userId="724a1d14-7a1d-4ba3-a47b-ab98eba40d1a" providerId="ADAL" clId="{42FF804E-5648-4342-A39E-C38A6C181F7D}" dt="2022-08-05T09:12:10.354" v="3366" actId="478"/>
          <ac:grpSpMkLst>
            <pc:docMk/>
            <pc:sldMk cId="1533911357" sldId="308"/>
            <ac:grpSpMk id="49" creationId="{11CC3181-74FD-B369-FC37-CD6AEDF5EC74}"/>
          </ac:grpSpMkLst>
        </pc:grpChg>
        <pc:grpChg chg="add del mod">
          <ac:chgData name="Zabolotna, Kateryna" userId="724a1d14-7a1d-4ba3-a47b-ab98eba40d1a" providerId="ADAL" clId="{42FF804E-5648-4342-A39E-C38A6C181F7D}" dt="2022-08-05T09:14:44.125" v="3405" actId="478"/>
          <ac:grpSpMkLst>
            <pc:docMk/>
            <pc:sldMk cId="1533911357" sldId="308"/>
            <ac:grpSpMk id="59" creationId="{5FF24B11-369E-6F30-FBAF-01F45FDB3323}"/>
          </ac:grpSpMkLst>
        </pc:grpChg>
        <pc:grpChg chg="add del mod">
          <ac:chgData name="Zabolotna, Kateryna" userId="724a1d14-7a1d-4ba3-a47b-ab98eba40d1a" providerId="ADAL" clId="{42FF804E-5648-4342-A39E-C38A6C181F7D}" dt="2022-08-05T09:18:22.082" v="3470" actId="478"/>
          <ac:grpSpMkLst>
            <pc:docMk/>
            <pc:sldMk cId="1533911357" sldId="308"/>
            <ac:grpSpMk id="77" creationId="{46D36E54-0611-4536-95F1-769157AC6671}"/>
          </ac:grpSpMkLst>
        </pc:grpChg>
        <pc:grpChg chg="add del mod">
          <ac:chgData name="Zabolotna, Kateryna" userId="724a1d14-7a1d-4ba3-a47b-ab98eba40d1a" providerId="ADAL" clId="{42FF804E-5648-4342-A39E-C38A6C181F7D}" dt="2022-08-05T09:22:07.189" v="3484" actId="478"/>
          <ac:grpSpMkLst>
            <pc:docMk/>
            <pc:sldMk cId="1533911357" sldId="308"/>
            <ac:grpSpMk id="83" creationId="{C517D316-6037-858E-0A19-52D59BF64924}"/>
          </ac:grpSpMkLst>
        </pc:grpChg>
        <pc:grpChg chg="add del mod">
          <ac:chgData name="Zabolotna, Kateryna" userId="724a1d14-7a1d-4ba3-a47b-ab98eba40d1a" providerId="ADAL" clId="{42FF804E-5648-4342-A39E-C38A6C181F7D}" dt="2022-08-05T09:22:25.261" v="3491" actId="478"/>
          <ac:grpSpMkLst>
            <pc:docMk/>
            <pc:sldMk cId="1533911357" sldId="308"/>
            <ac:grpSpMk id="86" creationId="{3BAE00FB-287B-A946-1291-12AB5252EA65}"/>
          </ac:grpSpMkLst>
        </pc:grpChg>
        <pc:grpChg chg="add del mod">
          <ac:chgData name="Zabolotna, Kateryna" userId="724a1d14-7a1d-4ba3-a47b-ab98eba40d1a" providerId="ADAL" clId="{42FF804E-5648-4342-A39E-C38A6C181F7D}" dt="2022-08-05T09:23:05.061" v="3498" actId="478"/>
          <ac:grpSpMkLst>
            <pc:docMk/>
            <pc:sldMk cId="1533911357" sldId="308"/>
            <ac:grpSpMk id="89" creationId="{FAFFBF58-B196-DE2D-9BC3-7F68DB02C6F5}"/>
          </ac:grpSpMkLst>
        </pc:grpChg>
        <pc:grpChg chg="add del mod">
          <ac:chgData name="Zabolotna, Kateryna" userId="724a1d14-7a1d-4ba3-a47b-ab98eba40d1a" providerId="ADAL" clId="{42FF804E-5648-4342-A39E-C38A6C181F7D}" dt="2022-08-05T09:23:31.343" v="3505" actId="478"/>
          <ac:grpSpMkLst>
            <pc:docMk/>
            <pc:sldMk cId="1533911357" sldId="308"/>
            <ac:grpSpMk id="93" creationId="{04DB2CCC-72F3-61A7-DFDB-15F0F0686EF3}"/>
          </ac:grpSpMkLst>
        </pc:grpChg>
        <pc:grpChg chg="add del mod">
          <ac:chgData name="Zabolotna, Kateryna" userId="724a1d14-7a1d-4ba3-a47b-ab98eba40d1a" providerId="ADAL" clId="{42FF804E-5648-4342-A39E-C38A6C181F7D}" dt="2022-08-05T09:22:14.989" v="3486" actId="478"/>
          <ac:grpSpMkLst>
            <pc:docMk/>
            <pc:sldMk cId="1533911357" sldId="308"/>
            <ac:grpSpMk id="96" creationId="{78DEA4CE-8D6F-FAEB-F787-501CDE693BF4}"/>
          </ac:grpSpMkLst>
        </pc:grpChg>
        <pc:grpChg chg="add del mod">
          <ac:chgData name="Zabolotna, Kateryna" userId="724a1d14-7a1d-4ba3-a47b-ab98eba40d1a" providerId="ADAL" clId="{42FF804E-5648-4342-A39E-C38A6C181F7D}" dt="2022-08-05T09:24:49.354" v="3519" actId="478"/>
          <ac:grpSpMkLst>
            <pc:docMk/>
            <pc:sldMk cId="1533911357" sldId="308"/>
            <ac:grpSpMk id="99" creationId="{9AAEA1F9-D1BB-2F2B-BC9B-1E14EDF41233}"/>
          </ac:grpSpMkLst>
        </pc:grpChg>
        <pc:picChg chg="del mod topLvl">
          <ac:chgData name="Zabolotna, Kateryna" userId="724a1d14-7a1d-4ba3-a47b-ab98eba40d1a" providerId="ADAL" clId="{42FF804E-5648-4342-A39E-C38A6C181F7D}" dt="2022-08-05T09:13:06.434" v="3381" actId="478"/>
          <ac:picMkLst>
            <pc:docMk/>
            <pc:sldMk cId="1533911357" sldId="308"/>
            <ac:picMk id="37" creationId="{CAA2B978-3DF5-288D-FA9F-DE441C15BBCF}"/>
          </ac:picMkLst>
        </pc:picChg>
        <pc:picChg chg="add mod">
          <ac:chgData name="Zabolotna, Kateryna" userId="724a1d14-7a1d-4ba3-a47b-ab98eba40d1a" providerId="ADAL" clId="{42FF804E-5648-4342-A39E-C38A6C181F7D}" dt="2022-08-05T09:18:43.482" v="3474" actId="1076"/>
          <ac:picMkLst>
            <pc:docMk/>
            <pc:sldMk cId="1533911357" sldId="308"/>
            <ac:picMk id="40" creationId="{21EA14FB-60A2-B7C0-9FB5-A7FC409F94A1}"/>
          </ac:picMkLst>
        </pc:picChg>
        <pc:picChg chg="add mod">
          <ac:chgData name="Zabolotna, Kateryna" userId="724a1d14-7a1d-4ba3-a47b-ab98eba40d1a" providerId="ADAL" clId="{42FF804E-5648-4342-A39E-C38A6C181F7D}" dt="2022-08-05T09:23:34.590" v="3506" actId="1076"/>
          <ac:picMkLst>
            <pc:docMk/>
            <pc:sldMk cId="1533911357" sldId="308"/>
            <ac:picMk id="43" creationId="{661C5B46-6022-5685-B57A-12A61F2D6944}"/>
          </ac:picMkLst>
        </pc:picChg>
        <pc:picChg chg="add mod">
          <ac:chgData name="Zabolotna, Kateryna" userId="724a1d14-7a1d-4ba3-a47b-ab98eba40d1a" providerId="ADAL" clId="{42FF804E-5648-4342-A39E-C38A6C181F7D}" dt="2022-08-05T09:24:08.800" v="3512" actId="1076"/>
          <ac:picMkLst>
            <pc:docMk/>
            <pc:sldMk cId="1533911357" sldId="308"/>
            <ac:picMk id="44" creationId="{C23BB396-A606-0291-AFAF-C8C765AC48D5}"/>
          </ac:picMkLst>
        </pc:picChg>
        <pc:picChg chg="mod topLvl">
          <ac:chgData name="Zabolotna, Kateryna" userId="724a1d14-7a1d-4ba3-a47b-ab98eba40d1a" providerId="ADAL" clId="{42FF804E-5648-4342-A39E-C38A6C181F7D}" dt="2022-08-05T13:52:59.642" v="4234" actId="14100"/>
          <ac:picMkLst>
            <pc:docMk/>
            <pc:sldMk cId="1533911357" sldId="308"/>
            <ac:picMk id="46" creationId="{DCFBD0C8-906D-A324-7E2E-0DE4DC9AA7B8}"/>
          </ac:picMkLst>
        </pc:picChg>
        <pc:picChg chg="mod topLvl">
          <ac:chgData name="Zabolotna, Kateryna" userId="724a1d14-7a1d-4ba3-a47b-ab98eba40d1a" providerId="ADAL" clId="{42FF804E-5648-4342-A39E-C38A6C181F7D}" dt="2022-08-05T09:24:11.918" v="3513" actId="1076"/>
          <ac:picMkLst>
            <pc:docMk/>
            <pc:sldMk cId="1533911357" sldId="308"/>
            <ac:picMk id="50" creationId="{D1ACD9CC-1979-0239-48B4-DAC7CA0C3D78}"/>
          </ac:picMkLst>
        </pc:picChg>
        <pc:picChg chg="add mod">
          <ac:chgData name="Zabolotna, Kateryna" userId="724a1d14-7a1d-4ba3-a47b-ab98eba40d1a" providerId="ADAL" clId="{42FF804E-5648-4342-A39E-C38A6C181F7D}" dt="2022-08-05T14:12:22.546" v="4591" actId="1076"/>
          <ac:picMkLst>
            <pc:docMk/>
            <pc:sldMk cId="1533911357" sldId="308"/>
            <ac:picMk id="52" creationId="{C8A42290-8C85-CE9F-5BE1-EA7E4827E75F}"/>
          </ac:picMkLst>
        </pc:picChg>
        <pc:picChg chg="add del mod">
          <ac:chgData name="Zabolotna, Kateryna" userId="724a1d14-7a1d-4ba3-a47b-ab98eba40d1a" providerId="ADAL" clId="{42FF804E-5648-4342-A39E-C38A6C181F7D}" dt="2022-07-28T07:53:49.723" v="3195" actId="478"/>
          <ac:picMkLst>
            <pc:docMk/>
            <pc:sldMk cId="1533911357" sldId="308"/>
            <ac:picMk id="55" creationId="{F6EBD06C-9352-9415-7301-91EC100893E2}"/>
          </ac:picMkLst>
        </pc:picChg>
        <pc:picChg chg="add del mod">
          <ac:chgData name="Zabolotna, Kateryna" userId="724a1d14-7a1d-4ba3-a47b-ab98eba40d1a" providerId="ADAL" clId="{42FF804E-5648-4342-A39E-C38A6C181F7D}" dt="2022-07-28T07:53:49.723" v="3195" actId="478"/>
          <ac:picMkLst>
            <pc:docMk/>
            <pc:sldMk cId="1533911357" sldId="308"/>
            <ac:picMk id="56" creationId="{87EA1B71-17F3-B28E-4EC9-37C542F3EF19}"/>
          </ac:picMkLst>
        </pc:picChg>
        <pc:picChg chg="add del mod">
          <ac:chgData name="Zabolotna, Kateryna" userId="724a1d14-7a1d-4ba3-a47b-ab98eba40d1a" providerId="ADAL" clId="{42FF804E-5648-4342-A39E-C38A6C181F7D}" dt="2022-07-28T07:53:49.723" v="3195" actId="478"/>
          <ac:picMkLst>
            <pc:docMk/>
            <pc:sldMk cId="1533911357" sldId="308"/>
            <ac:picMk id="57" creationId="{E0770DFE-B1B3-314E-8F68-1882C8D5AD15}"/>
          </ac:picMkLst>
        </pc:picChg>
        <pc:picChg chg="add del mod">
          <ac:chgData name="Zabolotna, Kateryna" userId="724a1d14-7a1d-4ba3-a47b-ab98eba40d1a" providerId="ADAL" clId="{42FF804E-5648-4342-A39E-C38A6C181F7D}" dt="2022-07-28T07:53:18.405" v="3191" actId="478"/>
          <ac:picMkLst>
            <pc:docMk/>
            <pc:sldMk cId="1533911357" sldId="308"/>
            <ac:picMk id="58" creationId="{83D01AE4-96E8-7DAC-7992-631B7FF62268}"/>
          </ac:picMkLst>
        </pc:picChg>
        <pc:picChg chg="add del mod">
          <ac:chgData name="Zabolotna, Kateryna" userId="724a1d14-7a1d-4ba3-a47b-ab98eba40d1a" providerId="ADAL" clId="{42FF804E-5648-4342-A39E-C38A6C181F7D}" dt="2022-07-28T07:53:18.405" v="3191" actId="478"/>
          <ac:picMkLst>
            <pc:docMk/>
            <pc:sldMk cId="1533911357" sldId="308"/>
            <ac:picMk id="59" creationId="{B5245FA6-6E96-09F2-314D-60D5C72542CF}"/>
          </ac:picMkLst>
        </pc:picChg>
        <pc:picChg chg="add del mod">
          <ac:chgData name="Zabolotna, Kateryna" userId="724a1d14-7a1d-4ba3-a47b-ab98eba40d1a" providerId="ADAL" clId="{42FF804E-5648-4342-A39E-C38A6C181F7D}" dt="2022-07-28T07:53:18.405" v="3191" actId="478"/>
          <ac:picMkLst>
            <pc:docMk/>
            <pc:sldMk cId="1533911357" sldId="308"/>
            <ac:picMk id="60" creationId="{AAD6FE2B-3FF1-4B24-E18D-08AF91574330}"/>
          </ac:picMkLst>
        </pc:picChg>
        <pc:picChg chg="mod topLvl">
          <ac:chgData name="Zabolotna, Kateryna" userId="724a1d14-7a1d-4ba3-a47b-ab98eba40d1a" providerId="ADAL" clId="{42FF804E-5648-4342-A39E-C38A6C181F7D}" dt="2022-08-05T09:25:06.684" v="3522" actId="1076"/>
          <ac:picMkLst>
            <pc:docMk/>
            <pc:sldMk cId="1533911357" sldId="308"/>
            <ac:picMk id="60" creationId="{BBA071D8-4E7A-D67E-F2FE-477ECB500A9F}"/>
          </ac:picMkLst>
        </pc:picChg>
        <pc:picChg chg="del mod topLvl">
          <ac:chgData name="Zabolotna, Kateryna" userId="724a1d14-7a1d-4ba3-a47b-ab98eba40d1a" providerId="ADAL" clId="{42FF804E-5648-4342-A39E-C38A6C181F7D}" dt="2022-08-05T09:18:35.401" v="3473" actId="478"/>
          <ac:picMkLst>
            <pc:docMk/>
            <pc:sldMk cId="1533911357" sldId="308"/>
            <ac:picMk id="78" creationId="{17BBB9BE-EF02-9A0E-186B-56068D76EE7B}"/>
          </ac:picMkLst>
        </pc:picChg>
        <pc:picChg chg="mod">
          <ac:chgData name="Zabolotna, Kateryna" userId="724a1d14-7a1d-4ba3-a47b-ab98eba40d1a" providerId="ADAL" clId="{42FF804E-5648-4342-A39E-C38A6C181F7D}" dt="2022-08-05T09:20:42.549" v="3480"/>
          <ac:picMkLst>
            <pc:docMk/>
            <pc:sldMk cId="1533911357" sldId="308"/>
            <ac:picMk id="84" creationId="{D22592CD-5F52-F146-C06C-6BC9594F33DD}"/>
          </ac:picMkLst>
        </pc:picChg>
        <pc:picChg chg="mod topLvl">
          <ac:chgData name="Zabolotna, Kateryna" userId="724a1d14-7a1d-4ba3-a47b-ab98eba40d1a" providerId="ADAL" clId="{42FF804E-5648-4342-A39E-C38A6C181F7D}" dt="2022-08-05T09:25:23.348" v="3525" actId="1076"/>
          <ac:picMkLst>
            <pc:docMk/>
            <pc:sldMk cId="1533911357" sldId="308"/>
            <ac:picMk id="87" creationId="{6B25F350-BCCD-4BB1-49B8-A5F51C927796}"/>
          </ac:picMkLst>
        </pc:picChg>
        <pc:picChg chg="mod topLvl">
          <ac:chgData name="Zabolotna, Kateryna" userId="724a1d14-7a1d-4ba3-a47b-ab98eba40d1a" providerId="ADAL" clId="{42FF804E-5648-4342-A39E-C38A6C181F7D}" dt="2022-08-05T09:24:25.302" v="3517" actId="1076"/>
          <ac:picMkLst>
            <pc:docMk/>
            <pc:sldMk cId="1533911357" sldId="308"/>
            <ac:picMk id="90" creationId="{D1EF6C9A-2442-9183-1243-AFA906726DD9}"/>
          </ac:picMkLst>
        </pc:picChg>
        <pc:picChg chg="mod topLvl">
          <ac:chgData name="Zabolotna, Kateryna" userId="724a1d14-7a1d-4ba3-a47b-ab98eba40d1a" providerId="ADAL" clId="{42FF804E-5648-4342-A39E-C38A6C181F7D}" dt="2022-08-05T14:12:29.976" v="4592" actId="1076"/>
          <ac:picMkLst>
            <pc:docMk/>
            <pc:sldMk cId="1533911357" sldId="308"/>
            <ac:picMk id="94" creationId="{23C97A4B-2726-AED3-17D6-C6F89F74C283}"/>
          </ac:picMkLst>
        </pc:picChg>
        <pc:picChg chg="mod topLvl">
          <ac:chgData name="Zabolotna, Kateryna" userId="724a1d14-7a1d-4ba3-a47b-ab98eba40d1a" providerId="ADAL" clId="{42FF804E-5648-4342-A39E-C38A6C181F7D}" dt="2022-08-05T09:26:02.446" v="3531" actId="1076"/>
          <ac:picMkLst>
            <pc:docMk/>
            <pc:sldMk cId="1533911357" sldId="308"/>
            <ac:picMk id="97" creationId="{F6DF4768-1BB2-7348-0EFD-1285C1C0815B}"/>
          </ac:picMkLst>
        </pc:picChg>
        <pc:picChg chg="mod topLvl">
          <ac:chgData name="Zabolotna, Kateryna" userId="724a1d14-7a1d-4ba3-a47b-ab98eba40d1a" providerId="ADAL" clId="{42FF804E-5648-4342-A39E-C38A6C181F7D}" dt="2022-08-05T09:26:51.069" v="3536" actId="14100"/>
          <ac:picMkLst>
            <pc:docMk/>
            <pc:sldMk cId="1533911357" sldId="308"/>
            <ac:picMk id="100" creationId="{3C640C56-15C7-7FAB-0683-87F8E80442CA}"/>
          </ac:picMkLst>
        </pc:picChg>
        <pc:picChg chg="add mod">
          <ac:chgData name="Zabolotna, Kateryna" userId="724a1d14-7a1d-4ba3-a47b-ab98eba40d1a" providerId="ADAL" clId="{42FF804E-5648-4342-A39E-C38A6C181F7D}" dt="2022-08-05T13:56:03.244" v="4252" actId="1076"/>
          <ac:picMkLst>
            <pc:docMk/>
            <pc:sldMk cId="1533911357" sldId="308"/>
            <ac:picMk id="108" creationId="{3AD5CBD3-A90F-E61A-0DD8-DE971E2A3BE4}"/>
          </ac:picMkLst>
        </pc:picChg>
        <pc:picChg chg="add mod">
          <ac:chgData name="Zabolotna, Kateryna" userId="724a1d14-7a1d-4ba3-a47b-ab98eba40d1a" providerId="ADAL" clId="{42FF804E-5648-4342-A39E-C38A6C181F7D}" dt="2022-08-05T13:55:01.789" v="4244" actId="14100"/>
          <ac:picMkLst>
            <pc:docMk/>
            <pc:sldMk cId="1533911357" sldId="308"/>
            <ac:picMk id="110" creationId="{43FA915D-F7C5-549A-396A-08AB60AA1626}"/>
          </ac:picMkLst>
        </pc:picChg>
        <pc:picChg chg="add mod">
          <ac:chgData name="Zabolotna, Kateryna" userId="724a1d14-7a1d-4ba3-a47b-ab98eba40d1a" providerId="ADAL" clId="{42FF804E-5648-4342-A39E-C38A6C181F7D}" dt="2022-08-05T13:56:12.506" v="4255" actId="208"/>
          <ac:picMkLst>
            <pc:docMk/>
            <pc:sldMk cId="1533911357" sldId="308"/>
            <ac:picMk id="114" creationId="{213637A0-DA04-286B-DCC6-76263C2F24E6}"/>
          </ac:picMkLst>
        </pc:picChg>
        <pc:cxnChg chg="add del mod">
          <ac:chgData name="Zabolotna, Kateryna" userId="724a1d14-7a1d-4ba3-a47b-ab98eba40d1a" providerId="ADAL" clId="{42FF804E-5648-4342-A39E-C38A6C181F7D}" dt="2022-08-05T09:15:03.031" v="3409" actId="478"/>
          <ac:cxnSpMkLst>
            <pc:docMk/>
            <pc:sldMk cId="1533911357" sldId="308"/>
            <ac:cxnSpMk id="15"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19"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1"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2"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3"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4"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5" creationId="{00000000-0000-0000-0000-000000000000}"/>
          </ac:cxnSpMkLst>
        </pc:cxnChg>
        <pc:cxnChg chg="del mod">
          <ac:chgData name="Zabolotna, Kateryna" userId="724a1d14-7a1d-4ba3-a47b-ab98eba40d1a" providerId="ADAL" clId="{42FF804E-5648-4342-A39E-C38A6C181F7D}" dt="2022-08-05T09:15:03.031" v="3409" actId="478"/>
          <ac:cxnSpMkLst>
            <pc:docMk/>
            <pc:sldMk cId="1533911357" sldId="308"/>
            <ac:cxnSpMk id="26" creationId="{00000000-0000-0000-0000-000000000000}"/>
          </ac:cxnSpMkLst>
        </pc:cxnChg>
        <pc:cxnChg chg="del mod">
          <ac:chgData name="Zabolotna, Kateryna" userId="724a1d14-7a1d-4ba3-a47b-ab98eba40d1a" providerId="ADAL" clId="{42FF804E-5648-4342-A39E-C38A6C181F7D}" dt="2022-07-27T21:22:26.641" v="2698" actId="478"/>
          <ac:cxnSpMkLst>
            <pc:docMk/>
            <pc:sldMk cId="1533911357" sldId="308"/>
            <ac:cxnSpMk id="35" creationId="{00000000-0000-0000-0000-000000000000}"/>
          </ac:cxnSpMkLst>
        </pc:cxnChg>
        <pc:cxnChg chg="add mod">
          <ac:chgData name="Zabolotna, Kateryna" userId="724a1d14-7a1d-4ba3-a47b-ab98eba40d1a" providerId="ADAL" clId="{42FF804E-5648-4342-A39E-C38A6C181F7D}" dt="2022-08-05T14:12:16.034" v="4588" actId="1076"/>
          <ac:cxnSpMkLst>
            <pc:docMk/>
            <pc:sldMk cId="1533911357" sldId="308"/>
            <ac:cxnSpMk id="45" creationId="{C3E0146A-7C46-6A32-E799-C27B7F1716A2}"/>
          </ac:cxnSpMkLst>
        </pc:cxnChg>
        <pc:cxnChg chg="add mod">
          <ac:chgData name="Zabolotna, Kateryna" userId="724a1d14-7a1d-4ba3-a47b-ab98eba40d1a" providerId="ADAL" clId="{42FF804E-5648-4342-A39E-C38A6C181F7D}" dt="2022-08-05T09:15:23.879" v="3431" actId="1036"/>
          <ac:cxnSpMkLst>
            <pc:docMk/>
            <pc:sldMk cId="1533911357" sldId="308"/>
            <ac:cxnSpMk id="48" creationId="{CBCD3DB5-FE9D-4F14-2171-A79B255CF8DA}"/>
          </ac:cxnSpMkLst>
        </pc:cxnChg>
        <pc:cxnChg chg="add mod">
          <ac:chgData name="Zabolotna, Kateryna" userId="724a1d14-7a1d-4ba3-a47b-ab98eba40d1a" providerId="ADAL" clId="{42FF804E-5648-4342-A39E-C38A6C181F7D}" dt="2022-08-05T09:18:51.754" v="3475" actId="14100"/>
          <ac:cxnSpMkLst>
            <pc:docMk/>
            <pc:sldMk cId="1533911357" sldId="308"/>
            <ac:cxnSpMk id="51" creationId="{11EB7D0D-4638-49B8-9400-5ABB7D87E1FE}"/>
          </ac:cxnSpMkLst>
        </pc:cxnChg>
        <pc:cxnChg chg="add mod">
          <ac:chgData name="Zabolotna, Kateryna" userId="724a1d14-7a1d-4ba3-a47b-ab98eba40d1a" providerId="ADAL" clId="{42FF804E-5648-4342-A39E-C38A6C181F7D}" dt="2022-08-05T14:12:20.648" v="4590" actId="1076"/>
          <ac:cxnSpMkLst>
            <pc:docMk/>
            <pc:sldMk cId="1533911357" sldId="308"/>
            <ac:cxnSpMk id="53" creationId="{42346A88-A9AB-982C-739A-11615666C749}"/>
          </ac:cxnSpMkLst>
        </pc:cxnChg>
        <pc:cxnChg chg="add mod">
          <ac:chgData name="Zabolotna, Kateryna" userId="724a1d14-7a1d-4ba3-a47b-ab98eba40d1a" providerId="ADAL" clId="{42FF804E-5648-4342-A39E-C38A6C181F7D}" dt="2022-08-05T09:15:23.879" v="3431" actId="1036"/>
          <ac:cxnSpMkLst>
            <pc:docMk/>
            <pc:sldMk cId="1533911357" sldId="308"/>
            <ac:cxnSpMk id="55" creationId="{B12B80B0-CD6D-ADD2-CDAF-F7D4FB553082}"/>
          </ac:cxnSpMkLst>
        </pc:cxnChg>
        <pc:cxnChg chg="add mod">
          <ac:chgData name="Zabolotna, Kateryna" userId="724a1d14-7a1d-4ba3-a47b-ab98eba40d1a" providerId="ADAL" clId="{42FF804E-5648-4342-A39E-C38A6C181F7D}" dt="2022-08-05T09:15:35.337" v="3457" actId="1036"/>
          <ac:cxnSpMkLst>
            <pc:docMk/>
            <pc:sldMk cId="1533911357" sldId="308"/>
            <ac:cxnSpMk id="57" creationId="{262D33D2-03D5-0DC3-19B8-C0BA7763F368}"/>
          </ac:cxnSpMkLst>
        </pc:cxnChg>
        <pc:cxnChg chg="add del mod">
          <ac:chgData name="Zabolotna, Kateryna" userId="724a1d14-7a1d-4ba3-a47b-ab98eba40d1a" providerId="ADAL" clId="{42FF804E-5648-4342-A39E-C38A6C181F7D}" dt="2022-08-05T14:13:10.365" v="4599" actId="478"/>
          <ac:cxnSpMkLst>
            <pc:docMk/>
            <pc:sldMk cId="1533911357" sldId="308"/>
            <ac:cxnSpMk id="62" creationId="{2B0E8950-A75C-9223-FD65-4F8CEBDE5874}"/>
          </ac:cxnSpMkLst>
        </pc:cxnChg>
        <pc:cxnChg chg="add del mod">
          <ac:chgData name="Zabolotna, Kateryna" userId="724a1d14-7a1d-4ba3-a47b-ab98eba40d1a" providerId="ADAL" clId="{42FF804E-5648-4342-A39E-C38A6C181F7D}" dt="2022-08-05T09:04:56.527" v="3358" actId="478"/>
          <ac:cxnSpMkLst>
            <pc:docMk/>
            <pc:sldMk cId="1533911357" sldId="308"/>
            <ac:cxnSpMk id="65" creationId="{DC3F074C-0509-EA0C-35B4-ECC171E93FE3}"/>
          </ac:cxnSpMkLst>
        </pc:cxnChg>
        <pc:cxnChg chg="add del mod">
          <ac:chgData name="Zabolotna, Kateryna" userId="724a1d14-7a1d-4ba3-a47b-ab98eba40d1a" providerId="ADAL" clId="{42FF804E-5648-4342-A39E-C38A6C181F7D}" dt="2022-08-05T09:04:56.527" v="3358" actId="478"/>
          <ac:cxnSpMkLst>
            <pc:docMk/>
            <pc:sldMk cId="1533911357" sldId="308"/>
            <ac:cxnSpMk id="66" creationId="{9FCB4C3E-6C94-779E-34EC-2F1226EC5ADF}"/>
          </ac:cxnSpMkLst>
        </pc:cxnChg>
        <pc:cxnChg chg="add del mod">
          <ac:chgData name="Zabolotna, Kateryna" userId="724a1d14-7a1d-4ba3-a47b-ab98eba40d1a" providerId="ADAL" clId="{42FF804E-5648-4342-A39E-C38A6C181F7D}" dt="2022-08-05T09:04:56.527" v="3358" actId="478"/>
          <ac:cxnSpMkLst>
            <pc:docMk/>
            <pc:sldMk cId="1533911357" sldId="308"/>
            <ac:cxnSpMk id="67" creationId="{9AD95F07-1384-DB5C-463E-53E1C9F019AB}"/>
          </ac:cxnSpMkLst>
        </pc:cxnChg>
        <pc:cxnChg chg="add del mod">
          <ac:chgData name="Zabolotna, Kateryna" userId="724a1d14-7a1d-4ba3-a47b-ab98eba40d1a" providerId="ADAL" clId="{42FF804E-5648-4342-A39E-C38A6C181F7D}" dt="2022-08-05T09:04:56.527" v="3358" actId="478"/>
          <ac:cxnSpMkLst>
            <pc:docMk/>
            <pc:sldMk cId="1533911357" sldId="308"/>
            <ac:cxnSpMk id="68" creationId="{86D2AA65-7CD0-DB5A-AD8C-FB126DEB86BF}"/>
          </ac:cxnSpMkLst>
        </pc:cxnChg>
        <pc:cxnChg chg="add del mod">
          <ac:chgData name="Zabolotna, Kateryna" userId="724a1d14-7a1d-4ba3-a47b-ab98eba40d1a" providerId="ADAL" clId="{42FF804E-5648-4342-A39E-C38A6C181F7D}" dt="2022-08-05T09:04:56.527" v="3358" actId="478"/>
          <ac:cxnSpMkLst>
            <pc:docMk/>
            <pc:sldMk cId="1533911357" sldId="308"/>
            <ac:cxnSpMk id="69" creationId="{187CA55D-611A-CD50-9142-E15E40E5694C}"/>
          </ac:cxnSpMkLst>
        </pc:cxnChg>
        <pc:cxnChg chg="add del mod">
          <ac:chgData name="Zabolotna, Kateryna" userId="724a1d14-7a1d-4ba3-a47b-ab98eba40d1a" providerId="ADAL" clId="{42FF804E-5648-4342-A39E-C38A6C181F7D}" dt="2022-08-05T09:04:56.527" v="3358" actId="478"/>
          <ac:cxnSpMkLst>
            <pc:docMk/>
            <pc:sldMk cId="1533911357" sldId="308"/>
            <ac:cxnSpMk id="70" creationId="{13F32033-82BA-4084-3637-9BD74C52F04D}"/>
          </ac:cxnSpMkLst>
        </pc:cxnChg>
        <pc:cxnChg chg="add del mod">
          <ac:chgData name="Zabolotna, Kateryna" userId="724a1d14-7a1d-4ba3-a47b-ab98eba40d1a" providerId="ADAL" clId="{42FF804E-5648-4342-A39E-C38A6C181F7D}" dt="2022-08-05T09:04:56.527" v="3358" actId="478"/>
          <ac:cxnSpMkLst>
            <pc:docMk/>
            <pc:sldMk cId="1533911357" sldId="308"/>
            <ac:cxnSpMk id="71" creationId="{2C9660A4-7F16-352B-CB4F-7FE85F129C52}"/>
          </ac:cxnSpMkLst>
        </pc:cxnChg>
        <pc:cxnChg chg="add del mod">
          <ac:chgData name="Zabolotna, Kateryna" userId="724a1d14-7a1d-4ba3-a47b-ab98eba40d1a" providerId="ADAL" clId="{42FF804E-5648-4342-A39E-C38A6C181F7D}" dt="2022-08-05T09:04:56.527" v="3358" actId="478"/>
          <ac:cxnSpMkLst>
            <pc:docMk/>
            <pc:sldMk cId="1533911357" sldId="308"/>
            <ac:cxnSpMk id="72" creationId="{C8A661EB-CC8B-42B9-9558-C79FD7FB017D}"/>
          </ac:cxnSpMkLst>
        </pc:cxnChg>
        <pc:cxnChg chg="add mod">
          <ac:chgData name="Zabolotna, Kateryna" userId="724a1d14-7a1d-4ba3-a47b-ab98eba40d1a" providerId="ADAL" clId="{42FF804E-5648-4342-A39E-C38A6C181F7D}" dt="2022-08-05T09:25:58.938" v="3530" actId="1076"/>
          <ac:cxnSpMkLst>
            <pc:docMk/>
            <pc:sldMk cId="1533911357" sldId="308"/>
            <ac:cxnSpMk id="82" creationId="{F88375F8-3C2A-C2C9-191C-24D07731D61E}"/>
          </ac:cxnSpMkLst>
        </pc:cxnChg>
        <pc:cxnChg chg="add mod">
          <ac:chgData name="Zabolotna, Kateryna" userId="724a1d14-7a1d-4ba3-a47b-ab98eba40d1a" providerId="ADAL" clId="{42FF804E-5648-4342-A39E-C38A6C181F7D}" dt="2022-08-05T09:24:20.006" v="3515" actId="1076"/>
          <ac:cxnSpMkLst>
            <pc:docMk/>
            <pc:sldMk cId="1533911357" sldId="308"/>
            <ac:cxnSpMk id="102" creationId="{364F8A8E-2FC5-FE10-7B71-7AE817829923}"/>
          </ac:cxnSpMkLst>
        </pc:cxnChg>
        <pc:cxnChg chg="add mod">
          <ac:chgData name="Zabolotna, Kateryna" userId="724a1d14-7a1d-4ba3-a47b-ab98eba40d1a" providerId="ADAL" clId="{42FF804E-5648-4342-A39E-C38A6C181F7D}" dt="2022-08-05T09:25:21.154" v="3524" actId="1076"/>
          <ac:cxnSpMkLst>
            <pc:docMk/>
            <pc:sldMk cId="1533911357" sldId="308"/>
            <ac:cxnSpMk id="103" creationId="{82E82CBD-D2BD-7219-23D5-0282052083D5}"/>
          </ac:cxnSpMkLst>
        </pc:cxnChg>
        <pc:cxnChg chg="add mod">
          <ac:chgData name="Zabolotna, Kateryna" userId="724a1d14-7a1d-4ba3-a47b-ab98eba40d1a" providerId="ADAL" clId="{42FF804E-5648-4342-A39E-C38A6C181F7D}" dt="2022-08-05T09:25:55.933" v="3529" actId="1076"/>
          <ac:cxnSpMkLst>
            <pc:docMk/>
            <pc:sldMk cId="1533911357" sldId="308"/>
            <ac:cxnSpMk id="104" creationId="{966F9802-01CE-0DB9-94CA-A365FBF712EC}"/>
          </ac:cxnSpMkLst>
        </pc:cxnChg>
        <pc:cxnChg chg="add mod">
          <ac:chgData name="Zabolotna, Kateryna" userId="724a1d14-7a1d-4ba3-a47b-ab98eba40d1a" providerId="ADAL" clId="{42FF804E-5648-4342-A39E-C38A6C181F7D}" dt="2022-08-05T09:26:58.254" v="3538" actId="1076"/>
          <ac:cxnSpMkLst>
            <pc:docMk/>
            <pc:sldMk cId="1533911357" sldId="308"/>
            <ac:cxnSpMk id="105" creationId="{717D363B-2BE3-C26C-0A91-3CE9B9493D9B}"/>
          </ac:cxnSpMkLst>
        </pc:cxnChg>
        <pc:cxnChg chg="add mod">
          <ac:chgData name="Zabolotna, Kateryna" userId="724a1d14-7a1d-4ba3-a47b-ab98eba40d1a" providerId="ADAL" clId="{42FF804E-5648-4342-A39E-C38A6C181F7D}" dt="2022-08-05T13:56:05.896" v="4253" actId="1076"/>
          <ac:cxnSpMkLst>
            <pc:docMk/>
            <pc:sldMk cId="1533911357" sldId="308"/>
            <ac:cxnSpMk id="109" creationId="{C4CF1B1B-27E5-3FC6-F543-B89EFB67C573}"/>
          </ac:cxnSpMkLst>
        </pc:cxnChg>
        <pc:cxnChg chg="add mod">
          <ac:chgData name="Zabolotna, Kateryna" userId="724a1d14-7a1d-4ba3-a47b-ab98eba40d1a" providerId="ADAL" clId="{42FF804E-5648-4342-A39E-C38A6C181F7D}" dt="2022-08-05T13:55:09.028" v="4246" actId="1076"/>
          <ac:cxnSpMkLst>
            <pc:docMk/>
            <pc:sldMk cId="1533911357" sldId="308"/>
            <ac:cxnSpMk id="111" creationId="{B9CBA36A-4133-93F4-4E40-B28D0F99269D}"/>
          </ac:cxnSpMkLst>
        </pc:cxnChg>
        <pc:cxnChg chg="add mod">
          <ac:chgData name="Zabolotna, Kateryna" userId="724a1d14-7a1d-4ba3-a47b-ab98eba40d1a" providerId="ADAL" clId="{42FF804E-5648-4342-A39E-C38A6C181F7D}" dt="2022-08-05T13:56:19.879" v="4257" actId="1076"/>
          <ac:cxnSpMkLst>
            <pc:docMk/>
            <pc:sldMk cId="1533911357" sldId="308"/>
            <ac:cxnSpMk id="115" creationId="{B456C3A9-4876-F8B5-79BF-910052B12439}"/>
          </ac:cxnSpMkLst>
        </pc:cxnChg>
      </pc:sldChg>
      <pc:sldChg chg="addSp delSp modSp add mod ord modTransition">
        <pc:chgData name="Zabolotna, Kateryna" userId="724a1d14-7a1d-4ba3-a47b-ab98eba40d1a" providerId="ADAL" clId="{42FF804E-5648-4342-A39E-C38A6C181F7D}" dt="2022-08-05T14:05:04.784" v="4517" actId="20577"/>
        <pc:sldMkLst>
          <pc:docMk/>
          <pc:sldMk cId="751042389" sldId="323"/>
        </pc:sldMkLst>
        <pc:spChg chg="add mod">
          <ac:chgData name="Zabolotna, Kateryna" userId="724a1d14-7a1d-4ba3-a47b-ab98eba40d1a" providerId="ADAL" clId="{42FF804E-5648-4342-A39E-C38A6C181F7D}" dt="2022-08-05T14:05:04.784" v="4517" actId="20577"/>
          <ac:spMkLst>
            <pc:docMk/>
            <pc:sldMk cId="751042389" sldId="323"/>
            <ac:spMk id="2" creationId="{6756305E-6D42-F839-E45B-37B9B1C0D0FE}"/>
          </ac:spMkLst>
        </pc:spChg>
        <pc:spChg chg="add del">
          <ac:chgData name="Zabolotna, Kateryna" userId="724a1d14-7a1d-4ba3-a47b-ab98eba40d1a" providerId="ADAL" clId="{42FF804E-5648-4342-A39E-C38A6C181F7D}" dt="2022-07-18T11:16:49.783" v="455" actId="478"/>
          <ac:spMkLst>
            <pc:docMk/>
            <pc:sldMk cId="751042389" sldId="323"/>
            <ac:spMk id="3" creationId="{00000000-0000-0000-0000-000000000000}"/>
          </ac:spMkLst>
        </pc:spChg>
        <pc:spChg chg="mod">
          <ac:chgData name="Zabolotna, Kateryna" userId="724a1d14-7a1d-4ba3-a47b-ab98eba40d1a" providerId="ADAL" clId="{42FF804E-5648-4342-A39E-C38A6C181F7D}" dt="2022-07-18T11:45:06.158" v="1124" actId="207"/>
          <ac:spMkLst>
            <pc:docMk/>
            <pc:sldMk cId="751042389" sldId="323"/>
            <ac:spMk id="5" creationId="{00000000-0000-0000-0000-000000000000}"/>
          </ac:spMkLst>
        </pc:spChg>
        <pc:spChg chg="add del mod">
          <ac:chgData name="Zabolotna, Kateryna" userId="724a1d14-7a1d-4ba3-a47b-ab98eba40d1a" providerId="ADAL" clId="{42FF804E-5648-4342-A39E-C38A6C181F7D}" dt="2022-08-05T14:04:56.700" v="4515"/>
          <ac:spMkLst>
            <pc:docMk/>
            <pc:sldMk cId="751042389" sldId="323"/>
            <ac:spMk id="6" creationId="{B91E3019-5254-64E1-F92E-0DB8DCE648B5}"/>
          </ac:spMkLst>
        </pc:spChg>
        <pc:spChg chg="mod">
          <ac:chgData name="Zabolotna, Kateryna" userId="724a1d14-7a1d-4ba3-a47b-ab98eba40d1a" providerId="ADAL" clId="{42FF804E-5648-4342-A39E-C38A6C181F7D}" dt="2022-07-18T12:07:47.062" v="1275" actId="20577"/>
          <ac:spMkLst>
            <pc:docMk/>
            <pc:sldMk cId="751042389" sldId="323"/>
            <ac:spMk id="7" creationId="{00000000-0000-0000-0000-000000000000}"/>
          </ac:spMkLst>
        </pc:spChg>
        <pc:spChg chg="mod">
          <ac:chgData name="Zabolotna, Kateryna" userId="724a1d14-7a1d-4ba3-a47b-ab98eba40d1a" providerId="ADAL" clId="{42FF804E-5648-4342-A39E-C38A6C181F7D}" dt="2022-07-18T11:42:52.368" v="1103" actId="20577"/>
          <ac:spMkLst>
            <pc:docMk/>
            <pc:sldMk cId="751042389" sldId="323"/>
            <ac:spMk id="8" creationId="{00000000-0000-0000-0000-000000000000}"/>
          </ac:spMkLst>
        </pc:spChg>
        <pc:spChg chg="mod">
          <ac:chgData name="Zabolotna, Kateryna" userId="724a1d14-7a1d-4ba3-a47b-ab98eba40d1a" providerId="ADAL" clId="{42FF804E-5648-4342-A39E-C38A6C181F7D}" dt="2022-07-18T11:42:47.056" v="1102" actId="20577"/>
          <ac:spMkLst>
            <pc:docMk/>
            <pc:sldMk cId="751042389" sldId="323"/>
            <ac:spMk id="9" creationId="{00000000-0000-0000-0000-000000000000}"/>
          </ac:spMkLst>
        </pc:spChg>
        <pc:spChg chg="add mod">
          <ac:chgData name="Zabolotna, Kateryna" userId="724a1d14-7a1d-4ba3-a47b-ab98eba40d1a" providerId="ADAL" clId="{42FF804E-5648-4342-A39E-C38A6C181F7D}" dt="2022-07-18T11:44:55.864" v="1123" actId="403"/>
          <ac:spMkLst>
            <pc:docMk/>
            <pc:sldMk cId="751042389" sldId="323"/>
            <ac:spMk id="12" creationId="{75B4044E-0CDF-7FD9-7A59-EEF267DE13E0}"/>
          </ac:spMkLst>
        </pc:spChg>
        <pc:spChg chg="add mod">
          <ac:chgData name="Zabolotna, Kateryna" userId="724a1d14-7a1d-4ba3-a47b-ab98eba40d1a" providerId="ADAL" clId="{42FF804E-5648-4342-A39E-C38A6C181F7D}" dt="2022-08-05T14:04:54.720" v="4513" actId="1076"/>
          <ac:spMkLst>
            <pc:docMk/>
            <pc:sldMk cId="751042389" sldId="323"/>
            <ac:spMk id="15" creationId="{AB311B7D-D3AC-A362-1EBA-11BD9B6E4FF4}"/>
          </ac:spMkLst>
        </pc:spChg>
        <pc:picChg chg="mod modCrop">
          <ac:chgData name="Zabolotna, Kateryna" userId="724a1d14-7a1d-4ba3-a47b-ab98eba40d1a" providerId="ADAL" clId="{42FF804E-5648-4342-A39E-C38A6C181F7D}" dt="2022-07-18T12:07:37.461" v="1273" actId="732"/>
          <ac:picMkLst>
            <pc:docMk/>
            <pc:sldMk cId="751042389" sldId="323"/>
            <ac:picMk id="4" creationId="{FD084483-FCA2-2146-8857-205B5F862FCB}"/>
          </ac:picMkLst>
        </pc:picChg>
        <pc:picChg chg="mod modCrop">
          <ac:chgData name="Zabolotna, Kateryna" userId="724a1d14-7a1d-4ba3-a47b-ab98eba40d1a" providerId="ADAL" clId="{42FF804E-5648-4342-A39E-C38A6C181F7D}" dt="2022-07-18T11:39:26.353" v="1064" actId="732"/>
          <ac:picMkLst>
            <pc:docMk/>
            <pc:sldMk cId="751042389" sldId="323"/>
            <ac:picMk id="10" creationId="{AE2094CC-FFB9-B145-B211-6A7F48140569}"/>
          </ac:picMkLst>
        </pc:picChg>
        <pc:picChg chg="add mod modCrop">
          <ac:chgData name="Zabolotna, Kateryna" userId="724a1d14-7a1d-4ba3-a47b-ab98eba40d1a" providerId="ADAL" clId="{42FF804E-5648-4342-A39E-C38A6C181F7D}" dt="2022-08-05T14:04:45.489" v="4512" actId="1076"/>
          <ac:picMkLst>
            <pc:docMk/>
            <pc:sldMk cId="751042389" sldId="323"/>
            <ac:picMk id="11" creationId="{C0FB8CF4-56D4-6F52-3C0E-38335451545A}"/>
          </ac:picMkLst>
        </pc:picChg>
        <pc:picChg chg="mod modCrop">
          <ac:chgData name="Zabolotna, Kateryna" userId="724a1d14-7a1d-4ba3-a47b-ab98eba40d1a" providerId="ADAL" clId="{42FF804E-5648-4342-A39E-C38A6C181F7D}" dt="2022-08-05T14:04:25.856" v="4506" actId="1076"/>
          <ac:picMkLst>
            <pc:docMk/>
            <pc:sldMk cId="751042389" sldId="323"/>
            <ac:picMk id="14" creationId="{6CD225F0-FCBA-474C-8AC1-4785C958707D}"/>
          </ac:picMkLst>
        </pc:picChg>
      </pc:sldChg>
      <pc:sldChg chg="modSp add del mod ord modShow">
        <pc:chgData name="Zabolotna, Kateryna" userId="724a1d14-7a1d-4ba3-a47b-ab98eba40d1a" providerId="ADAL" clId="{42FF804E-5648-4342-A39E-C38A6C181F7D}" dt="2022-07-28T07:46:24.606" v="3111" actId="729"/>
        <pc:sldMkLst>
          <pc:docMk/>
          <pc:sldMk cId="2664601408" sldId="1246"/>
        </pc:sldMkLst>
        <pc:spChg chg="mod">
          <ac:chgData name="Zabolotna, Kateryna" userId="724a1d14-7a1d-4ba3-a47b-ab98eba40d1a" providerId="ADAL" clId="{42FF804E-5648-4342-A39E-C38A6C181F7D}" dt="2022-07-18T11:08:43.217" v="366" actId="20577"/>
          <ac:spMkLst>
            <pc:docMk/>
            <pc:sldMk cId="2664601408" sldId="1246"/>
            <ac:spMk id="2" creationId="{00000000-0000-0000-0000-000000000000}"/>
          </ac:spMkLst>
        </pc:spChg>
      </pc:sldChg>
      <pc:sldChg chg="modSp add del mod modShow">
        <pc:chgData name="Zabolotna, Kateryna" userId="724a1d14-7a1d-4ba3-a47b-ab98eba40d1a" providerId="ADAL" clId="{42FF804E-5648-4342-A39E-C38A6C181F7D}" dt="2022-07-27T13:34:22.983" v="1511" actId="2696"/>
        <pc:sldMkLst>
          <pc:docMk/>
          <pc:sldMk cId="2451558414" sldId="9586"/>
        </pc:sldMkLst>
        <pc:spChg chg="mod">
          <ac:chgData name="Zabolotna, Kateryna" userId="724a1d14-7a1d-4ba3-a47b-ab98eba40d1a" providerId="ADAL" clId="{42FF804E-5648-4342-A39E-C38A6C181F7D}" dt="2022-07-18T11:08:09.444" v="362" actId="20577"/>
          <ac:spMkLst>
            <pc:docMk/>
            <pc:sldMk cId="2451558414" sldId="9586"/>
            <ac:spMk id="22" creationId="{3D0C9025-0BF3-5A4A-84FC-7A6B14A2BC52}"/>
          </ac:spMkLst>
        </pc:spChg>
      </pc:sldChg>
      <pc:sldChg chg="addSp delSp modSp add mod modAnim">
        <pc:chgData name="Zabolotna, Kateryna" userId="724a1d14-7a1d-4ba3-a47b-ab98eba40d1a" providerId="ADAL" clId="{42FF804E-5648-4342-A39E-C38A6C181F7D}" dt="2022-08-05T14:11:11.347" v="4587" actId="1076"/>
        <pc:sldMkLst>
          <pc:docMk/>
          <pc:sldMk cId="3635637568" sldId="9970"/>
        </pc:sldMkLst>
        <pc:spChg chg="mod">
          <ac:chgData name="Zabolotna, Kateryna" userId="724a1d14-7a1d-4ba3-a47b-ab98eba40d1a" providerId="ADAL" clId="{42FF804E-5648-4342-A39E-C38A6C181F7D}" dt="2022-08-05T14:11:11.347" v="4587" actId="1076"/>
          <ac:spMkLst>
            <pc:docMk/>
            <pc:sldMk cId="3635637568" sldId="9970"/>
            <ac:spMk id="4" creationId="{1BEEB834-2E76-164C-B3EF-525A9D137383}"/>
          </ac:spMkLst>
        </pc:spChg>
        <pc:spChg chg="mod">
          <ac:chgData name="Zabolotna, Kateryna" userId="724a1d14-7a1d-4ba3-a47b-ab98eba40d1a" providerId="ADAL" clId="{42FF804E-5648-4342-A39E-C38A6C181F7D}" dt="2022-08-05T14:10:56.110" v="4584" actId="1076"/>
          <ac:spMkLst>
            <pc:docMk/>
            <pc:sldMk cId="3635637568" sldId="9970"/>
            <ac:spMk id="11" creationId="{7434D1E2-865C-914A-98E4-D581F831CC66}"/>
          </ac:spMkLst>
        </pc:spChg>
        <pc:spChg chg="add del mod">
          <ac:chgData name="Zabolotna, Kateryna" userId="724a1d14-7a1d-4ba3-a47b-ab98eba40d1a" providerId="ADAL" clId="{42FF804E-5648-4342-A39E-C38A6C181F7D}" dt="2022-07-18T08:17:44.155" v="166" actId="478"/>
          <ac:spMkLst>
            <pc:docMk/>
            <pc:sldMk cId="3635637568" sldId="9970"/>
            <ac:spMk id="12" creationId="{CB100CEF-6ECB-D6B7-155D-EDCEBCF94FF1}"/>
          </ac:spMkLst>
        </pc:spChg>
        <pc:spChg chg="add del mod">
          <ac:chgData name="Zabolotna, Kateryna" userId="724a1d14-7a1d-4ba3-a47b-ab98eba40d1a" providerId="ADAL" clId="{42FF804E-5648-4342-A39E-C38A6C181F7D}" dt="2022-07-18T08:18:47.262" v="182" actId="478"/>
          <ac:spMkLst>
            <pc:docMk/>
            <pc:sldMk cId="3635637568" sldId="9970"/>
            <ac:spMk id="14" creationId="{42DD8D11-93E7-F591-AE64-7A07C17B22F9}"/>
          </ac:spMkLst>
        </pc:spChg>
        <pc:spChg chg="add mod">
          <ac:chgData name="Zabolotna, Kateryna" userId="724a1d14-7a1d-4ba3-a47b-ab98eba40d1a" providerId="ADAL" clId="{42FF804E-5648-4342-A39E-C38A6C181F7D}" dt="2022-07-18T08:18:52.113" v="183" actId="1076"/>
          <ac:spMkLst>
            <pc:docMk/>
            <pc:sldMk cId="3635637568" sldId="9970"/>
            <ac:spMk id="16" creationId="{7A274D8A-FFCA-08C0-51BA-ED338DA5E51D}"/>
          </ac:spMkLst>
        </pc:spChg>
        <pc:picChg chg="mod">
          <ac:chgData name="Zabolotna, Kateryna" userId="724a1d14-7a1d-4ba3-a47b-ab98eba40d1a" providerId="ADAL" clId="{42FF804E-5648-4342-A39E-C38A6C181F7D}" dt="2022-08-05T14:10:52.992" v="4583" actId="1076"/>
          <ac:picMkLst>
            <pc:docMk/>
            <pc:sldMk cId="3635637568" sldId="9970"/>
            <ac:picMk id="10" creationId="{C31E5A2D-9773-F841-8E94-0B95FBD2A977}"/>
          </ac:picMkLst>
        </pc:picChg>
        <pc:picChg chg="add del mod">
          <ac:chgData name="Zabolotna, Kateryna" userId="724a1d14-7a1d-4ba3-a47b-ab98eba40d1a" providerId="ADAL" clId="{42FF804E-5648-4342-A39E-C38A6C181F7D}" dt="2022-07-18T08:17:44.155" v="166" actId="478"/>
          <ac:picMkLst>
            <pc:docMk/>
            <pc:sldMk cId="3635637568" sldId="9970"/>
            <ac:picMk id="13" creationId="{68443041-DA93-0002-E98F-49B9F066CA27}"/>
          </ac:picMkLst>
        </pc:picChg>
      </pc:sldChg>
      <pc:sldChg chg="add del modTransition">
        <pc:chgData name="Zabolotna, Kateryna" userId="724a1d14-7a1d-4ba3-a47b-ab98eba40d1a" providerId="ADAL" clId="{42FF804E-5648-4342-A39E-C38A6C181F7D}" dt="2022-07-18T11:17:21.934" v="456" actId="2696"/>
        <pc:sldMkLst>
          <pc:docMk/>
          <pc:sldMk cId="1982408436" sldId="10008"/>
        </pc:sldMkLst>
      </pc:sldChg>
      <pc:sldChg chg="addSp delSp modSp add mod modTransition">
        <pc:chgData name="Zabolotna, Kateryna" userId="724a1d14-7a1d-4ba3-a47b-ab98eba40d1a" providerId="ADAL" clId="{42FF804E-5648-4342-A39E-C38A6C181F7D}" dt="2022-08-05T09:03:16.209" v="3352" actId="20577"/>
        <pc:sldMkLst>
          <pc:docMk/>
          <pc:sldMk cId="299454938" sldId="10013"/>
        </pc:sldMkLst>
        <pc:spChg chg="add del mod">
          <ac:chgData name="Zabolotna, Kateryna" userId="724a1d14-7a1d-4ba3-a47b-ab98eba40d1a" providerId="ADAL" clId="{42FF804E-5648-4342-A39E-C38A6C181F7D}" dt="2022-07-27T13:02:04.489" v="1344" actId="478"/>
          <ac:spMkLst>
            <pc:docMk/>
            <pc:sldMk cId="299454938" sldId="10013"/>
            <ac:spMk id="3" creationId="{9B9E8866-22D3-84CE-714F-612CD17051E7}"/>
          </ac:spMkLst>
        </pc:spChg>
        <pc:spChg chg="add del">
          <ac:chgData name="Zabolotna, Kateryna" userId="724a1d14-7a1d-4ba3-a47b-ab98eba40d1a" providerId="ADAL" clId="{42FF804E-5648-4342-A39E-C38A6C181F7D}" dt="2022-07-27T13:01:59.427" v="1343" actId="478"/>
          <ac:spMkLst>
            <pc:docMk/>
            <pc:sldMk cId="299454938" sldId="10013"/>
            <ac:spMk id="5" creationId="{C91B783A-D612-AE40-9F25-201F7C5F63B1}"/>
          </ac:spMkLst>
        </pc:spChg>
        <pc:spChg chg="mod">
          <ac:chgData name="Zabolotna, Kateryna" userId="724a1d14-7a1d-4ba3-a47b-ab98eba40d1a" providerId="ADAL" clId="{42FF804E-5648-4342-A39E-C38A6C181F7D}" dt="2022-08-05T09:03:16.209" v="3352" actId="20577"/>
          <ac:spMkLst>
            <pc:docMk/>
            <pc:sldMk cId="299454938" sldId="10013"/>
            <ac:spMk id="8" creationId="{CAEF6CBD-A178-6D46-8BBB-52790870B985}"/>
          </ac:spMkLst>
        </pc:spChg>
        <pc:spChg chg="del">
          <ac:chgData name="Zabolotna, Kateryna" userId="724a1d14-7a1d-4ba3-a47b-ab98eba40d1a" providerId="ADAL" clId="{42FF804E-5648-4342-A39E-C38A6C181F7D}" dt="2022-07-27T13:01:55.677" v="1341" actId="478"/>
          <ac:spMkLst>
            <pc:docMk/>
            <pc:sldMk cId="299454938" sldId="10013"/>
            <ac:spMk id="9" creationId="{FBDA1F8F-B1C1-3A44-856E-CF7B37496C35}"/>
          </ac:spMkLst>
        </pc:spChg>
      </pc:sldChg>
      <pc:sldChg chg="del">
        <pc:chgData name="Zabolotna, Kateryna" userId="724a1d14-7a1d-4ba3-a47b-ab98eba40d1a" providerId="ADAL" clId="{42FF804E-5648-4342-A39E-C38A6C181F7D}" dt="2022-07-18T08:14:39.738" v="37" actId="2696"/>
        <pc:sldMkLst>
          <pc:docMk/>
          <pc:sldMk cId="3691444849" sldId="2134806180"/>
        </pc:sldMkLst>
      </pc:sldChg>
      <pc:sldChg chg="addSp delSp modSp del mod modShow">
        <pc:chgData name="Zabolotna, Kateryna" userId="724a1d14-7a1d-4ba3-a47b-ab98eba40d1a" providerId="ADAL" clId="{42FF804E-5648-4342-A39E-C38A6C181F7D}" dt="2022-07-18T11:54:52.216" v="1220" actId="2696"/>
        <pc:sldMkLst>
          <pc:docMk/>
          <pc:sldMk cId="1787715111" sldId="2134806181"/>
        </pc:sldMkLst>
        <pc:spChg chg="mod">
          <ac:chgData name="Zabolotna, Kateryna" userId="724a1d14-7a1d-4ba3-a47b-ab98eba40d1a" providerId="ADAL" clId="{42FF804E-5648-4342-A39E-C38A6C181F7D}" dt="2022-07-18T08:11:46.105" v="28" actId="1076"/>
          <ac:spMkLst>
            <pc:docMk/>
            <pc:sldMk cId="1787715111" sldId="2134806181"/>
            <ac:spMk id="35" creationId="{255279F0-5263-4C62-A17A-8796C4BDE1A4}"/>
          </ac:spMkLst>
        </pc:spChg>
        <pc:spChg chg="mod">
          <ac:chgData name="Zabolotna, Kateryna" userId="724a1d14-7a1d-4ba3-a47b-ab98eba40d1a" providerId="ADAL" clId="{42FF804E-5648-4342-A39E-C38A6C181F7D}" dt="2022-07-18T08:11:41.173" v="27" actId="20577"/>
          <ac:spMkLst>
            <pc:docMk/>
            <pc:sldMk cId="1787715111" sldId="2134806181"/>
            <ac:spMk id="43" creationId="{D74FCD0E-E815-436C-B6F2-679B1A9669DE}"/>
          </ac:spMkLst>
        </pc:spChg>
        <pc:spChg chg="add del mod">
          <ac:chgData name="Zabolotna, Kateryna" userId="724a1d14-7a1d-4ba3-a47b-ab98eba40d1a" providerId="ADAL" clId="{42FF804E-5648-4342-A39E-C38A6C181F7D}" dt="2022-07-18T11:06:35.115" v="359" actId="478"/>
          <ac:spMkLst>
            <pc:docMk/>
            <pc:sldMk cId="1787715111" sldId="2134806181"/>
            <ac:spMk id="44" creationId="{39E0B795-5DED-BAC5-A597-0E5073A9FF7D}"/>
          </ac:spMkLst>
        </pc:spChg>
      </pc:sldChg>
      <pc:sldChg chg="del mod modShow">
        <pc:chgData name="Zabolotna, Kateryna" userId="724a1d14-7a1d-4ba3-a47b-ab98eba40d1a" providerId="ADAL" clId="{42FF804E-5648-4342-A39E-C38A6C181F7D}" dt="2022-07-18T11:09:15.050" v="368" actId="2696"/>
        <pc:sldMkLst>
          <pc:docMk/>
          <pc:sldMk cId="1387067458" sldId="2134806182"/>
        </pc:sldMkLst>
      </pc:sldChg>
      <pc:sldChg chg="modSp add del mod ord modShow">
        <pc:chgData name="Zabolotna, Kateryna" userId="724a1d14-7a1d-4ba3-a47b-ab98eba40d1a" providerId="ADAL" clId="{42FF804E-5648-4342-A39E-C38A6C181F7D}" dt="2022-07-28T07:53:12.819" v="3190" actId="2696"/>
        <pc:sldMkLst>
          <pc:docMk/>
          <pc:sldMk cId="3941557106" sldId="2134806183"/>
        </pc:sldMkLst>
        <pc:spChg chg="mod">
          <ac:chgData name="Zabolotna, Kateryna" userId="724a1d14-7a1d-4ba3-a47b-ab98eba40d1a" providerId="ADAL" clId="{42FF804E-5648-4342-A39E-C38A6C181F7D}" dt="2022-07-18T11:52:14.593" v="1218" actId="14100"/>
          <ac:spMkLst>
            <pc:docMk/>
            <pc:sldMk cId="3941557106" sldId="2134806183"/>
            <ac:spMk id="14" creationId="{4748CB45-2229-4391-BC44-375CE648858A}"/>
          </ac:spMkLst>
        </pc:spChg>
      </pc:sldChg>
      <pc:sldChg chg="add del mod modShow">
        <pc:chgData name="Zabolotna, Kateryna" userId="724a1d14-7a1d-4ba3-a47b-ab98eba40d1a" providerId="ADAL" clId="{42FF804E-5648-4342-A39E-C38A6C181F7D}" dt="2022-07-27T12:52:06.782" v="1283" actId="2696"/>
        <pc:sldMkLst>
          <pc:docMk/>
          <pc:sldMk cId="272409259" sldId="2134806184"/>
        </pc:sldMkLst>
      </pc:sldChg>
      <pc:sldChg chg="add del">
        <pc:chgData name="Zabolotna, Kateryna" userId="724a1d14-7a1d-4ba3-a47b-ab98eba40d1a" providerId="ADAL" clId="{42FF804E-5648-4342-A39E-C38A6C181F7D}" dt="2022-07-18T11:56:32.348" v="1228"/>
        <pc:sldMkLst>
          <pc:docMk/>
          <pc:sldMk cId="348444226" sldId="2134806184"/>
        </pc:sldMkLst>
      </pc:sldChg>
      <pc:sldChg chg="add modTransition">
        <pc:chgData name="Zabolotna, Kateryna" userId="724a1d14-7a1d-4ba3-a47b-ab98eba40d1a" providerId="ADAL" clId="{42FF804E-5648-4342-A39E-C38A6C181F7D}" dt="2022-07-27T12:52:12.552" v="1284"/>
        <pc:sldMkLst>
          <pc:docMk/>
          <pc:sldMk cId="2288040920" sldId="2134806184"/>
        </pc:sldMkLst>
      </pc:sldChg>
      <pc:sldChg chg="add modTransition">
        <pc:chgData name="Zabolotna, Kateryna" userId="724a1d14-7a1d-4ba3-a47b-ab98eba40d1a" providerId="ADAL" clId="{42FF804E-5648-4342-A39E-C38A6C181F7D}" dt="2022-07-27T12:52:12.552" v="1284"/>
        <pc:sldMkLst>
          <pc:docMk/>
          <pc:sldMk cId="1610275260" sldId="2134806185"/>
        </pc:sldMkLst>
      </pc:sldChg>
      <pc:sldChg chg="add del">
        <pc:chgData name="Zabolotna, Kateryna" userId="724a1d14-7a1d-4ba3-a47b-ab98eba40d1a" providerId="ADAL" clId="{42FF804E-5648-4342-A39E-C38A6C181F7D}" dt="2022-07-18T11:56:24.089" v="1226" actId="2696"/>
        <pc:sldMkLst>
          <pc:docMk/>
          <pc:sldMk cId="2412243619" sldId="2134806185"/>
        </pc:sldMkLst>
      </pc:sldChg>
      <pc:sldChg chg="add del mod modShow">
        <pc:chgData name="Zabolotna, Kateryna" userId="724a1d14-7a1d-4ba3-a47b-ab98eba40d1a" providerId="ADAL" clId="{42FF804E-5648-4342-A39E-C38A6C181F7D}" dt="2022-07-27T12:52:06.782" v="1283" actId="2696"/>
        <pc:sldMkLst>
          <pc:docMk/>
          <pc:sldMk cId="2960899740" sldId="2134806185"/>
        </pc:sldMkLst>
      </pc:sldChg>
      <pc:sldChg chg="add del">
        <pc:chgData name="Zabolotna, Kateryna" userId="724a1d14-7a1d-4ba3-a47b-ab98eba40d1a" providerId="ADAL" clId="{42FF804E-5648-4342-A39E-C38A6C181F7D}" dt="2022-07-18T11:56:32.348" v="1228"/>
        <pc:sldMkLst>
          <pc:docMk/>
          <pc:sldMk cId="4223685214" sldId="2134806185"/>
        </pc:sldMkLst>
      </pc:sldChg>
      <pc:sldChg chg="add del modTransition setBg">
        <pc:chgData name="Zabolotna, Kateryna" userId="724a1d14-7a1d-4ba3-a47b-ab98eba40d1a" providerId="ADAL" clId="{42FF804E-5648-4342-A39E-C38A6C181F7D}" dt="2022-07-18T11:56:32.348" v="1228"/>
        <pc:sldMkLst>
          <pc:docMk/>
          <pc:sldMk cId="620874537" sldId="2134806186"/>
        </pc:sldMkLst>
      </pc:sldChg>
      <pc:sldChg chg="add setBg">
        <pc:chgData name="Zabolotna, Kateryna" userId="724a1d14-7a1d-4ba3-a47b-ab98eba40d1a" providerId="ADAL" clId="{42FF804E-5648-4342-A39E-C38A6C181F7D}" dt="2022-07-27T12:52:12.552" v="1284"/>
        <pc:sldMkLst>
          <pc:docMk/>
          <pc:sldMk cId="2125077354" sldId="2134806186"/>
        </pc:sldMkLst>
      </pc:sldChg>
      <pc:sldChg chg="add mod modShow">
        <pc:chgData name="Zabolotna, Kateryna" userId="724a1d14-7a1d-4ba3-a47b-ab98eba40d1a" providerId="ADAL" clId="{42FF804E-5648-4342-A39E-C38A6C181F7D}" dt="2022-07-18T12:06:34.363" v="1267" actId="729"/>
        <pc:sldMkLst>
          <pc:docMk/>
          <pc:sldMk cId="3887376568" sldId="2134806186"/>
        </pc:sldMkLst>
      </pc:sldChg>
      <pc:sldChg chg="add del mod modShow">
        <pc:chgData name="Zabolotna, Kateryna" userId="724a1d14-7a1d-4ba3-a47b-ab98eba40d1a" providerId="ADAL" clId="{42FF804E-5648-4342-A39E-C38A6C181F7D}" dt="2022-07-28T07:57:09.956" v="3227" actId="2696"/>
        <pc:sldMkLst>
          <pc:docMk/>
          <pc:sldMk cId="1892948503" sldId="2134806190"/>
        </pc:sldMkLst>
      </pc:sldChg>
      <pc:sldChg chg="add">
        <pc:chgData name="Zabolotna, Kateryna" userId="724a1d14-7a1d-4ba3-a47b-ab98eba40d1a" providerId="ADAL" clId="{42FF804E-5648-4342-A39E-C38A6C181F7D}" dt="2022-07-28T07:57:15.836" v="3228"/>
        <pc:sldMkLst>
          <pc:docMk/>
          <pc:sldMk cId="2810389484" sldId="2134806190"/>
        </pc:sldMkLst>
      </pc:sldChg>
      <pc:sldChg chg="addSp delSp add del mod">
        <pc:chgData name="Zabolotna, Kateryna" userId="724a1d14-7a1d-4ba3-a47b-ab98eba40d1a" providerId="ADAL" clId="{42FF804E-5648-4342-A39E-C38A6C181F7D}" dt="2022-07-28T08:00:09.828" v="3280" actId="2696"/>
        <pc:sldMkLst>
          <pc:docMk/>
          <pc:sldMk cId="4247313741" sldId="2134806234"/>
        </pc:sldMkLst>
        <pc:picChg chg="add del">
          <ac:chgData name="Zabolotna, Kateryna" userId="724a1d14-7a1d-4ba3-a47b-ab98eba40d1a" providerId="ADAL" clId="{42FF804E-5648-4342-A39E-C38A6C181F7D}" dt="2022-07-27T13:57:10.179" v="1686" actId="478"/>
          <ac:picMkLst>
            <pc:docMk/>
            <pc:sldMk cId="4247313741" sldId="2134806234"/>
            <ac:picMk id="3" creationId="{1971EED5-BB90-56AB-AC6E-2CAF91750D18}"/>
          </ac:picMkLst>
        </pc:picChg>
        <pc:picChg chg="del">
          <ac:chgData name="Zabolotna, Kateryna" userId="724a1d14-7a1d-4ba3-a47b-ab98eba40d1a" providerId="ADAL" clId="{42FF804E-5648-4342-A39E-C38A6C181F7D}" dt="2022-07-27T13:59:22.339" v="1687" actId="478"/>
          <ac:picMkLst>
            <pc:docMk/>
            <pc:sldMk cId="4247313741" sldId="2134806234"/>
            <ac:picMk id="8" creationId="{3B2999B6-BE8B-490D-8470-309E68C61D1E}"/>
          </ac:picMkLst>
        </pc:picChg>
      </pc:sldChg>
      <pc:sldChg chg="addSp add">
        <pc:chgData name="Zabolotna, Kateryna" userId="724a1d14-7a1d-4ba3-a47b-ab98eba40d1a" providerId="ADAL" clId="{42FF804E-5648-4342-A39E-C38A6C181F7D}" dt="2022-07-27T13:57:07.926" v="1685"/>
        <pc:sldMkLst>
          <pc:docMk/>
          <pc:sldMk cId="505153115" sldId="2134806235"/>
        </pc:sldMkLst>
        <pc:picChg chg="add">
          <ac:chgData name="Zabolotna, Kateryna" userId="724a1d14-7a1d-4ba3-a47b-ab98eba40d1a" providerId="ADAL" clId="{42FF804E-5648-4342-A39E-C38A6C181F7D}" dt="2022-07-27T13:57:07.926" v="1685"/>
          <ac:picMkLst>
            <pc:docMk/>
            <pc:sldMk cId="505153115" sldId="2134806235"/>
            <ac:picMk id="3" creationId="{A6AB6B9B-D271-81C3-3E09-62D89104AC39}"/>
          </ac:picMkLst>
        </pc:picChg>
      </pc:sldChg>
      <pc:sldChg chg="addSp delSp modSp new del mod modShow">
        <pc:chgData name="Zabolotna, Kateryna" userId="724a1d14-7a1d-4ba3-a47b-ab98eba40d1a" providerId="ADAL" clId="{42FF804E-5648-4342-A39E-C38A6C181F7D}" dt="2022-07-18T11:55:25.642" v="1222" actId="2696"/>
        <pc:sldMkLst>
          <pc:docMk/>
          <pc:sldMk cId="523453987" sldId="2134806242"/>
        </pc:sldMkLst>
        <pc:spChg chg="add del mod">
          <ac:chgData name="Zabolotna, Kateryna" userId="724a1d14-7a1d-4ba3-a47b-ab98eba40d1a" providerId="ADAL" clId="{42FF804E-5648-4342-A39E-C38A6C181F7D}" dt="2022-07-18T08:23:51.771" v="189" actId="478"/>
          <ac:spMkLst>
            <pc:docMk/>
            <pc:sldMk cId="523453987" sldId="2134806242"/>
            <ac:spMk id="2" creationId="{0323509F-A172-8916-D44A-76BCD668F802}"/>
          </ac:spMkLst>
        </pc:spChg>
        <pc:picChg chg="add mod">
          <ac:chgData name="Zabolotna, Kateryna" userId="724a1d14-7a1d-4ba3-a47b-ab98eba40d1a" providerId="ADAL" clId="{42FF804E-5648-4342-A39E-C38A6C181F7D}" dt="2022-07-18T08:50:45.662" v="192" actId="962"/>
          <ac:picMkLst>
            <pc:docMk/>
            <pc:sldMk cId="523453987" sldId="2134806242"/>
            <ac:picMk id="4" creationId="{0FEF8D7A-DF6C-4F8E-A2F8-A4286612CA14}"/>
          </ac:picMkLst>
        </pc:picChg>
      </pc:sldChg>
      <pc:sldChg chg="addSp delSp modSp new add del mod modShow">
        <pc:chgData name="Zabolotna, Kateryna" userId="724a1d14-7a1d-4ba3-a47b-ab98eba40d1a" providerId="ADAL" clId="{42FF804E-5648-4342-A39E-C38A6C181F7D}" dt="2022-07-28T07:44:58.684" v="3088" actId="2696"/>
        <pc:sldMkLst>
          <pc:docMk/>
          <pc:sldMk cId="3754776214" sldId="2134806243"/>
        </pc:sldMkLst>
        <pc:spChg chg="add mod">
          <ac:chgData name="Zabolotna, Kateryna" userId="724a1d14-7a1d-4ba3-a47b-ab98eba40d1a" providerId="ADAL" clId="{42FF804E-5648-4342-A39E-C38A6C181F7D}" dt="2022-07-18T11:06:17.688" v="355" actId="20577"/>
          <ac:spMkLst>
            <pc:docMk/>
            <pc:sldMk cId="3754776214" sldId="2134806243"/>
            <ac:spMk id="7" creationId="{A6A575F1-765C-8B8D-5FBB-26093006A491}"/>
          </ac:spMkLst>
        </pc:spChg>
        <pc:picChg chg="add del mod">
          <ac:chgData name="Zabolotna, Kateryna" userId="724a1d14-7a1d-4ba3-a47b-ab98eba40d1a" providerId="ADAL" clId="{42FF804E-5648-4342-A39E-C38A6C181F7D}" dt="2022-07-27T14:07:16.918" v="1715" actId="478"/>
          <ac:picMkLst>
            <pc:docMk/>
            <pc:sldMk cId="3754776214" sldId="2134806243"/>
            <ac:picMk id="2" creationId="{2A9A4D5B-E4AE-2FDB-9E93-9D36C9012832}"/>
          </ac:picMkLst>
        </pc:picChg>
        <pc:picChg chg="add del">
          <ac:chgData name="Zabolotna, Kateryna" userId="724a1d14-7a1d-4ba3-a47b-ab98eba40d1a" providerId="ADAL" clId="{42FF804E-5648-4342-A39E-C38A6C181F7D}" dt="2022-07-18T09:22:30.659" v="195" actId="478"/>
          <ac:picMkLst>
            <pc:docMk/>
            <pc:sldMk cId="3754776214" sldId="2134806243"/>
            <ac:picMk id="2" creationId="{B23AFE16-436F-EE69-BDC3-83B4E61CF3F1}"/>
          </ac:picMkLst>
        </pc:picChg>
        <pc:picChg chg="add del mod">
          <ac:chgData name="Zabolotna, Kateryna" userId="724a1d14-7a1d-4ba3-a47b-ab98eba40d1a" providerId="ADAL" clId="{42FF804E-5648-4342-A39E-C38A6C181F7D}" dt="2022-07-18T10:33:23.777" v="267" actId="478"/>
          <ac:picMkLst>
            <pc:docMk/>
            <pc:sldMk cId="3754776214" sldId="2134806243"/>
            <ac:picMk id="3" creationId="{7F4F8979-9575-EF93-4131-69094AF71CBC}"/>
          </ac:picMkLst>
        </pc:picChg>
        <pc:picChg chg="add del mod">
          <ac:chgData name="Zabolotna, Kateryna" userId="724a1d14-7a1d-4ba3-a47b-ab98eba40d1a" providerId="ADAL" clId="{42FF804E-5648-4342-A39E-C38A6C181F7D}" dt="2022-07-18T11:50:36.776" v="1150" actId="478"/>
          <ac:picMkLst>
            <pc:docMk/>
            <pc:sldMk cId="3754776214" sldId="2134806243"/>
            <ac:picMk id="4" creationId="{4FC5CBD7-0C44-7786-1C68-0C94B2721521}"/>
          </ac:picMkLst>
        </pc:picChg>
        <pc:picChg chg="add del mod">
          <ac:chgData name="Zabolotna, Kateryna" userId="724a1d14-7a1d-4ba3-a47b-ab98eba40d1a" providerId="ADAL" clId="{42FF804E-5648-4342-A39E-C38A6C181F7D}" dt="2022-07-18T11:50:36.776" v="1150" actId="478"/>
          <ac:picMkLst>
            <pc:docMk/>
            <pc:sldMk cId="3754776214" sldId="2134806243"/>
            <ac:picMk id="5" creationId="{8D4CE00E-FDE3-A492-10F4-78FC12665967}"/>
          </ac:picMkLst>
        </pc:picChg>
        <pc:picChg chg="add mod modCrop">
          <ac:chgData name="Zabolotna, Kateryna" userId="724a1d14-7a1d-4ba3-a47b-ab98eba40d1a" providerId="ADAL" clId="{42FF804E-5648-4342-A39E-C38A6C181F7D}" dt="2022-07-27T14:07:19.164" v="1716" actId="1076"/>
          <ac:picMkLst>
            <pc:docMk/>
            <pc:sldMk cId="3754776214" sldId="2134806243"/>
            <ac:picMk id="6" creationId="{EA12CFCD-1406-DC0F-4928-93B3A3A751CD}"/>
          </ac:picMkLst>
        </pc:picChg>
      </pc:sldChg>
      <pc:sldChg chg="addSp delSp modSp add del mod ord delAnim modAnim modShow">
        <pc:chgData name="Zabolotna, Kateryna" userId="724a1d14-7a1d-4ba3-a47b-ab98eba40d1a" providerId="ADAL" clId="{42FF804E-5648-4342-A39E-C38A6C181F7D}" dt="2022-07-28T07:57:09.956" v="3227" actId="2696"/>
        <pc:sldMkLst>
          <pc:docMk/>
          <pc:sldMk cId="220137462" sldId="2134806252"/>
        </pc:sldMkLst>
        <pc:spChg chg="mod">
          <ac:chgData name="Zabolotna, Kateryna" userId="724a1d14-7a1d-4ba3-a47b-ab98eba40d1a" providerId="ADAL" clId="{42FF804E-5648-4342-A39E-C38A6C181F7D}" dt="2022-07-27T14:18:05.255" v="1975" actId="207"/>
          <ac:spMkLst>
            <pc:docMk/>
            <pc:sldMk cId="220137462" sldId="2134806252"/>
            <ac:spMk id="25" creationId="{64D811DA-9A63-3DCA-D3F2-08648B2B96E9}"/>
          </ac:spMkLst>
        </pc:spChg>
        <pc:spChg chg="mod">
          <ac:chgData name="Zabolotna, Kateryna" userId="724a1d14-7a1d-4ba3-a47b-ab98eba40d1a" providerId="ADAL" clId="{42FF804E-5648-4342-A39E-C38A6C181F7D}" dt="2022-07-27T14:15:53.986" v="1969" actId="20577"/>
          <ac:spMkLst>
            <pc:docMk/>
            <pc:sldMk cId="220137462" sldId="2134806252"/>
            <ac:spMk id="26" creationId="{1C8BE14F-5E33-757E-E496-E4B34E393D98}"/>
          </ac:spMkLst>
        </pc:spChg>
        <pc:spChg chg="mod">
          <ac:chgData name="Zabolotna, Kateryna" userId="724a1d14-7a1d-4ba3-a47b-ab98eba40d1a" providerId="ADAL" clId="{42FF804E-5648-4342-A39E-C38A6C181F7D}" dt="2022-07-27T14:12:54.002" v="1818" actId="20577"/>
          <ac:spMkLst>
            <pc:docMk/>
            <pc:sldMk cId="220137462" sldId="2134806252"/>
            <ac:spMk id="28" creationId="{88B52F88-63EE-03D7-D068-92F6C4C1652E}"/>
          </ac:spMkLst>
        </pc:spChg>
        <pc:spChg chg="mod">
          <ac:chgData name="Zabolotna, Kateryna" userId="724a1d14-7a1d-4ba3-a47b-ab98eba40d1a" providerId="ADAL" clId="{42FF804E-5648-4342-A39E-C38A6C181F7D}" dt="2022-07-27T14:12:45.725" v="1813"/>
          <ac:spMkLst>
            <pc:docMk/>
            <pc:sldMk cId="220137462" sldId="2134806252"/>
            <ac:spMk id="29" creationId="{0820B784-0C0A-32C4-8CA9-8E427B36DC9E}"/>
          </ac:spMkLst>
        </pc:spChg>
        <pc:spChg chg="mod">
          <ac:chgData name="Zabolotna, Kateryna" userId="724a1d14-7a1d-4ba3-a47b-ab98eba40d1a" providerId="ADAL" clId="{42FF804E-5648-4342-A39E-C38A6C181F7D}" dt="2022-07-27T14:12:40.569" v="1812" actId="1076"/>
          <ac:spMkLst>
            <pc:docMk/>
            <pc:sldMk cId="220137462" sldId="2134806252"/>
            <ac:spMk id="49" creationId="{93EB1D31-2198-42C6-9C82-387E40554444}"/>
          </ac:spMkLst>
        </pc:spChg>
        <pc:spChg chg="mod">
          <ac:chgData name="Zabolotna, Kateryna" userId="724a1d14-7a1d-4ba3-a47b-ab98eba40d1a" providerId="ADAL" clId="{42FF804E-5648-4342-A39E-C38A6C181F7D}" dt="2022-07-27T14:12:40.569" v="1812" actId="1076"/>
          <ac:spMkLst>
            <pc:docMk/>
            <pc:sldMk cId="220137462" sldId="2134806252"/>
            <ac:spMk id="50" creationId="{5A50065A-3805-4935-B647-0B7AC505E618}"/>
          </ac:spMkLst>
        </pc:spChg>
        <pc:spChg chg="mod">
          <ac:chgData name="Zabolotna, Kateryna" userId="724a1d14-7a1d-4ba3-a47b-ab98eba40d1a" providerId="ADAL" clId="{42FF804E-5648-4342-A39E-C38A6C181F7D}" dt="2022-07-27T14:12:40.569" v="1812" actId="1076"/>
          <ac:spMkLst>
            <pc:docMk/>
            <pc:sldMk cId="220137462" sldId="2134806252"/>
            <ac:spMk id="51" creationId="{20FF50D6-1DED-453F-9AF4-1A6462C364E5}"/>
          </ac:spMkLst>
        </pc:spChg>
        <pc:grpChg chg="add mod">
          <ac:chgData name="Zabolotna, Kateryna" userId="724a1d14-7a1d-4ba3-a47b-ab98eba40d1a" providerId="ADAL" clId="{42FF804E-5648-4342-A39E-C38A6C181F7D}" dt="2022-07-27T14:12:50.227" v="1814" actId="1076"/>
          <ac:grpSpMkLst>
            <pc:docMk/>
            <pc:sldMk cId="220137462" sldId="2134806252"/>
            <ac:grpSpMk id="2" creationId="{934103EC-186E-6143-197D-14F2F2FBF072}"/>
          </ac:grpSpMkLst>
        </pc:grpChg>
        <pc:grpChg chg="mod">
          <ac:chgData name="Zabolotna, Kateryna" userId="724a1d14-7a1d-4ba3-a47b-ab98eba40d1a" providerId="ADAL" clId="{42FF804E-5648-4342-A39E-C38A6C181F7D}" dt="2022-07-27T14:12:40.569" v="1812" actId="1076"/>
          <ac:grpSpMkLst>
            <pc:docMk/>
            <pc:sldMk cId="220137462" sldId="2134806252"/>
            <ac:grpSpMk id="22" creationId="{8C57F442-2B15-4BFE-B4B5-3D4B2EDBF1DA}"/>
          </ac:grpSpMkLst>
        </pc:grpChg>
        <pc:grpChg chg="mod">
          <ac:chgData name="Zabolotna, Kateryna" userId="724a1d14-7a1d-4ba3-a47b-ab98eba40d1a" providerId="ADAL" clId="{42FF804E-5648-4342-A39E-C38A6C181F7D}" dt="2022-07-27T14:12:40.569" v="1812" actId="1076"/>
          <ac:grpSpMkLst>
            <pc:docMk/>
            <pc:sldMk cId="220137462" sldId="2134806252"/>
            <ac:grpSpMk id="23" creationId="{12317524-217A-46F2-B705-0F73F544A602}"/>
          </ac:grpSpMkLst>
        </pc:grpChg>
        <pc:grpChg chg="mod">
          <ac:chgData name="Zabolotna, Kateryna" userId="724a1d14-7a1d-4ba3-a47b-ab98eba40d1a" providerId="ADAL" clId="{42FF804E-5648-4342-A39E-C38A6C181F7D}" dt="2022-07-27T14:12:45.725" v="1813"/>
          <ac:grpSpMkLst>
            <pc:docMk/>
            <pc:sldMk cId="220137462" sldId="2134806252"/>
            <ac:grpSpMk id="24" creationId="{C4911CDE-0724-0E17-B0A5-95919C4427BC}"/>
          </ac:grpSpMkLst>
        </pc:grpChg>
        <pc:grpChg chg="add">
          <ac:chgData name="Zabolotna, Kateryna" userId="724a1d14-7a1d-4ba3-a47b-ab98eba40d1a" providerId="ADAL" clId="{42FF804E-5648-4342-A39E-C38A6C181F7D}" dt="2022-07-27T14:18:44.596" v="1977" actId="164"/>
          <ac:grpSpMkLst>
            <pc:docMk/>
            <pc:sldMk cId="220137462" sldId="2134806252"/>
            <ac:grpSpMk id="31" creationId="{031DB19C-52E1-72B7-3C41-DE34C445FC52}"/>
          </ac:grpSpMkLst>
        </pc:grpChg>
        <pc:picChg chg="del mod">
          <ac:chgData name="Zabolotna, Kateryna" userId="724a1d14-7a1d-4ba3-a47b-ab98eba40d1a" providerId="ADAL" clId="{42FF804E-5648-4342-A39E-C38A6C181F7D}" dt="2022-07-27T14:17:37.471" v="1971" actId="478"/>
          <ac:picMkLst>
            <pc:docMk/>
            <pc:sldMk cId="220137462" sldId="2134806252"/>
            <ac:picMk id="27" creationId="{46D1DBD5-9592-9606-8F22-8482FB19D0D1}"/>
          </ac:picMkLst>
        </pc:picChg>
        <pc:picChg chg="add mod">
          <ac:chgData name="Zabolotna, Kateryna" userId="724a1d14-7a1d-4ba3-a47b-ab98eba40d1a" providerId="ADAL" clId="{42FF804E-5648-4342-A39E-C38A6C181F7D}" dt="2022-07-27T14:17:49.793" v="1973" actId="1076"/>
          <ac:picMkLst>
            <pc:docMk/>
            <pc:sldMk cId="220137462" sldId="2134806252"/>
            <ac:picMk id="30" creationId="{DE4F3FA9-57DD-83C7-1571-481D16C7B41D}"/>
          </ac:picMkLst>
        </pc:picChg>
      </pc:sldChg>
      <pc:sldChg chg="add modTransition">
        <pc:chgData name="Zabolotna, Kateryna" userId="724a1d14-7a1d-4ba3-a47b-ab98eba40d1a" providerId="ADAL" clId="{42FF804E-5648-4342-A39E-C38A6C181F7D}" dt="2022-07-28T07:57:15.836" v="3228"/>
        <pc:sldMkLst>
          <pc:docMk/>
          <pc:sldMk cId="2833642024" sldId="2134806252"/>
        </pc:sldMkLst>
      </pc:sldChg>
      <pc:sldChg chg="addSp modSp add del mod">
        <pc:chgData name="Zabolotna, Kateryna" userId="724a1d14-7a1d-4ba3-a47b-ab98eba40d1a" providerId="ADAL" clId="{42FF804E-5648-4342-A39E-C38A6C181F7D}" dt="2022-07-28T07:57:09.956" v="3227" actId="2696"/>
        <pc:sldMkLst>
          <pc:docMk/>
          <pc:sldMk cId="903637831" sldId="2134806253"/>
        </pc:sldMkLst>
        <pc:spChg chg="mod">
          <ac:chgData name="Zabolotna, Kateryna" userId="724a1d14-7a1d-4ba3-a47b-ab98eba40d1a" providerId="ADAL" clId="{42FF804E-5648-4342-A39E-C38A6C181F7D}" dt="2022-07-27T14:20:51.361" v="1988"/>
          <ac:spMkLst>
            <pc:docMk/>
            <pc:sldMk cId="903637831" sldId="2134806253"/>
            <ac:spMk id="30" creationId="{4E43EBF9-52E3-F237-A80C-257A36178169}"/>
          </ac:spMkLst>
        </pc:spChg>
        <pc:spChg chg="mod">
          <ac:chgData name="Zabolotna, Kateryna" userId="724a1d14-7a1d-4ba3-a47b-ab98eba40d1a" providerId="ADAL" clId="{42FF804E-5648-4342-A39E-C38A6C181F7D}" dt="2022-07-27T14:20:51.361" v="1988"/>
          <ac:spMkLst>
            <pc:docMk/>
            <pc:sldMk cId="903637831" sldId="2134806253"/>
            <ac:spMk id="31" creationId="{6077BA92-65E7-1233-F833-9A74C8721C58}"/>
          </ac:spMkLst>
        </pc:spChg>
        <pc:spChg chg="mod">
          <ac:chgData name="Zabolotna, Kateryna" userId="724a1d14-7a1d-4ba3-a47b-ab98eba40d1a" providerId="ADAL" clId="{42FF804E-5648-4342-A39E-C38A6C181F7D}" dt="2022-07-27T14:20:51.361" v="1988"/>
          <ac:spMkLst>
            <pc:docMk/>
            <pc:sldMk cId="903637831" sldId="2134806253"/>
            <ac:spMk id="35" creationId="{5BDC86B5-F98A-5F9B-56A3-3A765106B9E1}"/>
          </ac:spMkLst>
        </pc:spChg>
        <pc:spChg chg="mod">
          <ac:chgData name="Zabolotna, Kateryna" userId="724a1d14-7a1d-4ba3-a47b-ab98eba40d1a" providerId="ADAL" clId="{42FF804E-5648-4342-A39E-C38A6C181F7D}" dt="2022-07-27T14:20:51.361" v="1988"/>
          <ac:spMkLst>
            <pc:docMk/>
            <pc:sldMk cId="903637831" sldId="2134806253"/>
            <ac:spMk id="36" creationId="{B7781EAD-38D6-A43D-68EF-A05C00726536}"/>
          </ac:spMkLst>
        </pc:spChg>
        <pc:spChg chg="mod">
          <ac:chgData name="Zabolotna, Kateryna" userId="724a1d14-7a1d-4ba3-a47b-ab98eba40d1a" providerId="ADAL" clId="{42FF804E-5648-4342-A39E-C38A6C181F7D}" dt="2022-07-27T14:20:36.538" v="1987" actId="1076"/>
          <ac:spMkLst>
            <pc:docMk/>
            <pc:sldMk cId="903637831" sldId="2134806253"/>
            <ac:spMk id="46" creationId="{429545FB-9195-47F0-BB79-F220E27C1D90}"/>
          </ac:spMkLst>
        </pc:spChg>
        <pc:spChg chg="mod">
          <ac:chgData name="Zabolotna, Kateryna" userId="724a1d14-7a1d-4ba3-a47b-ab98eba40d1a" providerId="ADAL" clId="{42FF804E-5648-4342-A39E-C38A6C181F7D}" dt="2022-07-27T14:20:36.538" v="1987" actId="1076"/>
          <ac:spMkLst>
            <pc:docMk/>
            <pc:sldMk cId="903637831" sldId="2134806253"/>
            <ac:spMk id="47" creationId="{12EFC3CB-A030-4667-BAC0-A148F75A3B3A}"/>
          </ac:spMkLst>
        </pc:spChg>
        <pc:spChg chg="mod">
          <ac:chgData name="Zabolotna, Kateryna" userId="724a1d14-7a1d-4ba3-a47b-ab98eba40d1a" providerId="ADAL" clId="{42FF804E-5648-4342-A39E-C38A6C181F7D}" dt="2022-07-27T14:20:36.538" v="1987" actId="1076"/>
          <ac:spMkLst>
            <pc:docMk/>
            <pc:sldMk cId="903637831" sldId="2134806253"/>
            <ac:spMk id="48" creationId="{ABADFF40-2572-43CE-9E97-DA15AB86625C}"/>
          </ac:spMkLst>
        </pc:spChg>
        <pc:spChg chg="mod">
          <ac:chgData name="Zabolotna, Kateryna" userId="724a1d14-7a1d-4ba3-a47b-ab98eba40d1a" providerId="ADAL" clId="{42FF804E-5648-4342-A39E-C38A6C181F7D}" dt="2022-07-27T14:20:36.538" v="1987" actId="1076"/>
          <ac:spMkLst>
            <pc:docMk/>
            <pc:sldMk cId="903637831" sldId="2134806253"/>
            <ac:spMk id="49" creationId="{C56139D9-3160-4241-953C-805FC2654682}"/>
          </ac:spMkLst>
        </pc:spChg>
        <pc:grpChg chg="mod">
          <ac:chgData name="Zabolotna, Kateryna" userId="724a1d14-7a1d-4ba3-a47b-ab98eba40d1a" providerId="ADAL" clId="{42FF804E-5648-4342-A39E-C38A6C181F7D}" dt="2022-07-27T14:20:36.538" v="1987" actId="1076"/>
          <ac:grpSpMkLst>
            <pc:docMk/>
            <pc:sldMk cId="903637831" sldId="2134806253"/>
            <ac:grpSpMk id="3" creationId="{FCE06CD3-219C-47CA-876D-532F0357E25F}"/>
          </ac:grpSpMkLst>
        </pc:grpChg>
        <pc:grpChg chg="mod">
          <ac:chgData name="Zabolotna, Kateryna" userId="724a1d14-7a1d-4ba3-a47b-ab98eba40d1a" providerId="ADAL" clId="{42FF804E-5648-4342-A39E-C38A6C181F7D}" dt="2022-07-27T14:20:36.538" v="1987" actId="1076"/>
          <ac:grpSpMkLst>
            <pc:docMk/>
            <pc:sldMk cId="903637831" sldId="2134806253"/>
            <ac:grpSpMk id="22" creationId="{8BC168D0-0285-44C2-9E50-DFB8266DF0DA}"/>
          </ac:grpSpMkLst>
        </pc:grpChg>
        <pc:grpChg chg="add mod">
          <ac:chgData name="Zabolotna, Kateryna" userId="724a1d14-7a1d-4ba3-a47b-ab98eba40d1a" providerId="ADAL" clId="{42FF804E-5648-4342-A39E-C38A6C181F7D}" dt="2022-07-27T14:20:51.361" v="1988"/>
          <ac:grpSpMkLst>
            <pc:docMk/>
            <pc:sldMk cId="903637831" sldId="2134806253"/>
            <ac:grpSpMk id="23" creationId="{28AABA33-F2F3-3933-AF2A-A15364C49990}"/>
          </ac:grpSpMkLst>
        </pc:grpChg>
        <pc:grpChg chg="mod">
          <ac:chgData name="Zabolotna, Kateryna" userId="724a1d14-7a1d-4ba3-a47b-ab98eba40d1a" providerId="ADAL" clId="{42FF804E-5648-4342-A39E-C38A6C181F7D}" dt="2022-07-27T14:20:51.361" v="1988"/>
          <ac:grpSpMkLst>
            <pc:docMk/>
            <pc:sldMk cId="903637831" sldId="2134806253"/>
            <ac:grpSpMk id="24" creationId="{74E5A533-355C-C308-2793-26F7CCA344B5}"/>
          </ac:grpSpMkLst>
        </pc:grpChg>
        <pc:grpChg chg="mod">
          <ac:chgData name="Zabolotna, Kateryna" userId="724a1d14-7a1d-4ba3-a47b-ab98eba40d1a" providerId="ADAL" clId="{42FF804E-5648-4342-A39E-C38A6C181F7D}" dt="2022-07-27T14:20:51.361" v="1988"/>
          <ac:grpSpMkLst>
            <pc:docMk/>
            <pc:sldMk cId="903637831" sldId="2134806253"/>
            <ac:grpSpMk id="26" creationId="{7485BF22-D5AF-03E3-5061-0D6836E5690A}"/>
          </ac:grpSpMkLst>
        </pc:grpChg>
        <pc:picChg chg="mod">
          <ac:chgData name="Zabolotna, Kateryna" userId="724a1d14-7a1d-4ba3-a47b-ab98eba40d1a" providerId="ADAL" clId="{42FF804E-5648-4342-A39E-C38A6C181F7D}" dt="2022-07-27T14:20:51.361" v="1988"/>
          <ac:picMkLst>
            <pc:docMk/>
            <pc:sldMk cId="903637831" sldId="2134806253"/>
            <ac:picMk id="25" creationId="{7ECF3828-211B-62F6-6A20-EEE298E41FFA}"/>
          </ac:picMkLst>
        </pc:picChg>
      </pc:sldChg>
      <pc:sldChg chg="add modTransition">
        <pc:chgData name="Zabolotna, Kateryna" userId="724a1d14-7a1d-4ba3-a47b-ab98eba40d1a" providerId="ADAL" clId="{42FF804E-5648-4342-A39E-C38A6C181F7D}" dt="2022-07-28T07:57:15.836" v="3228"/>
        <pc:sldMkLst>
          <pc:docMk/>
          <pc:sldMk cId="3450614615" sldId="2134806253"/>
        </pc:sldMkLst>
      </pc:sldChg>
      <pc:sldChg chg="addSp modSp add del mod modShow">
        <pc:chgData name="Zabolotna, Kateryna" userId="724a1d14-7a1d-4ba3-a47b-ab98eba40d1a" providerId="ADAL" clId="{42FF804E-5648-4342-A39E-C38A6C181F7D}" dt="2022-07-28T07:57:09.956" v="3227" actId="2696"/>
        <pc:sldMkLst>
          <pc:docMk/>
          <pc:sldMk cId="1335003536" sldId="2134806254"/>
        </pc:sldMkLst>
        <pc:spChg chg="mod">
          <ac:chgData name="Zabolotna, Kateryna" userId="724a1d14-7a1d-4ba3-a47b-ab98eba40d1a" providerId="ADAL" clId="{42FF804E-5648-4342-A39E-C38A6C181F7D}" dt="2022-07-27T14:18:49.199" v="1978"/>
          <ac:spMkLst>
            <pc:docMk/>
            <pc:sldMk cId="1335003536" sldId="2134806254"/>
            <ac:spMk id="30" creationId="{E0EFAEC9-B100-79FB-B97F-CBFED25797F5}"/>
          </ac:spMkLst>
        </pc:spChg>
        <pc:spChg chg="mod">
          <ac:chgData name="Zabolotna, Kateryna" userId="724a1d14-7a1d-4ba3-a47b-ab98eba40d1a" providerId="ADAL" clId="{42FF804E-5648-4342-A39E-C38A6C181F7D}" dt="2022-07-27T14:18:49.199" v="1978"/>
          <ac:spMkLst>
            <pc:docMk/>
            <pc:sldMk cId="1335003536" sldId="2134806254"/>
            <ac:spMk id="31" creationId="{DF49CAFA-D9E9-526A-ED2E-E97141743105}"/>
          </ac:spMkLst>
        </pc:spChg>
        <pc:spChg chg="mod">
          <ac:chgData name="Zabolotna, Kateryna" userId="724a1d14-7a1d-4ba3-a47b-ab98eba40d1a" providerId="ADAL" clId="{42FF804E-5648-4342-A39E-C38A6C181F7D}" dt="2022-07-27T14:18:49.199" v="1978"/>
          <ac:spMkLst>
            <pc:docMk/>
            <pc:sldMk cId="1335003536" sldId="2134806254"/>
            <ac:spMk id="35" creationId="{D2901F1A-7DA4-342B-3132-E23B06D01612}"/>
          </ac:spMkLst>
        </pc:spChg>
        <pc:spChg chg="mod">
          <ac:chgData name="Zabolotna, Kateryna" userId="724a1d14-7a1d-4ba3-a47b-ab98eba40d1a" providerId="ADAL" clId="{42FF804E-5648-4342-A39E-C38A6C181F7D}" dt="2022-07-27T14:18:49.199" v="1978"/>
          <ac:spMkLst>
            <pc:docMk/>
            <pc:sldMk cId="1335003536" sldId="2134806254"/>
            <ac:spMk id="41" creationId="{CB0BDF3A-8A5A-E047-92C4-5FB125A8C7CF}"/>
          </ac:spMkLst>
        </pc:spChg>
        <pc:spChg chg="mod">
          <ac:chgData name="Zabolotna, Kateryna" userId="724a1d14-7a1d-4ba3-a47b-ab98eba40d1a" providerId="ADAL" clId="{42FF804E-5648-4342-A39E-C38A6C181F7D}" dt="2022-07-27T14:18:36.478" v="1976" actId="1076"/>
          <ac:spMkLst>
            <pc:docMk/>
            <pc:sldMk cId="1335003536" sldId="2134806254"/>
            <ac:spMk id="45" creationId="{30294C1C-9A52-A043-B192-0BBC024CDB25}"/>
          </ac:spMkLst>
        </pc:spChg>
        <pc:spChg chg="mod">
          <ac:chgData name="Zabolotna, Kateryna" userId="724a1d14-7a1d-4ba3-a47b-ab98eba40d1a" providerId="ADAL" clId="{42FF804E-5648-4342-A39E-C38A6C181F7D}" dt="2022-07-27T14:18:36.478" v="1976" actId="1076"/>
          <ac:spMkLst>
            <pc:docMk/>
            <pc:sldMk cId="1335003536" sldId="2134806254"/>
            <ac:spMk id="47" creationId="{AEA8EA5F-813D-4773-8282-2F79B0410041}"/>
          </ac:spMkLst>
        </pc:spChg>
        <pc:spChg chg="mod">
          <ac:chgData name="Zabolotna, Kateryna" userId="724a1d14-7a1d-4ba3-a47b-ab98eba40d1a" providerId="ADAL" clId="{42FF804E-5648-4342-A39E-C38A6C181F7D}" dt="2022-07-27T14:18:36.478" v="1976" actId="1076"/>
          <ac:spMkLst>
            <pc:docMk/>
            <pc:sldMk cId="1335003536" sldId="2134806254"/>
            <ac:spMk id="48" creationId="{41ECB733-3604-416E-87EA-757FB799EA63}"/>
          </ac:spMkLst>
        </pc:spChg>
        <pc:grpChg chg="mod">
          <ac:chgData name="Zabolotna, Kateryna" userId="724a1d14-7a1d-4ba3-a47b-ab98eba40d1a" providerId="ADAL" clId="{42FF804E-5648-4342-A39E-C38A6C181F7D}" dt="2022-07-27T14:18:36.478" v="1976" actId="1076"/>
          <ac:grpSpMkLst>
            <pc:docMk/>
            <pc:sldMk cId="1335003536" sldId="2134806254"/>
            <ac:grpSpMk id="4" creationId="{2FB317D9-5296-479E-A5B3-7DBEAEC05628}"/>
          </ac:grpSpMkLst>
        </pc:grpChg>
        <pc:grpChg chg="mod">
          <ac:chgData name="Zabolotna, Kateryna" userId="724a1d14-7a1d-4ba3-a47b-ab98eba40d1a" providerId="ADAL" clId="{42FF804E-5648-4342-A39E-C38A6C181F7D}" dt="2022-07-27T14:18:36.478" v="1976" actId="1076"/>
          <ac:grpSpMkLst>
            <pc:docMk/>
            <pc:sldMk cId="1335003536" sldId="2134806254"/>
            <ac:grpSpMk id="22" creationId="{890CBB37-47FC-4376-A132-96BF0338E9E3}"/>
          </ac:grpSpMkLst>
        </pc:grpChg>
        <pc:grpChg chg="add mod">
          <ac:chgData name="Zabolotna, Kateryna" userId="724a1d14-7a1d-4ba3-a47b-ab98eba40d1a" providerId="ADAL" clId="{42FF804E-5648-4342-A39E-C38A6C181F7D}" dt="2022-07-27T14:18:49.199" v="1978"/>
          <ac:grpSpMkLst>
            <pc:docMk/>
            <pc:sldMk cId="1335003536" sldId="2134806254"/>
            <ac:grpSpMk id="23" creationId="{213EF825-13FF-3AF1-366E-7885EC37EA5A}"/>
          </ac:grpSpMkLst>
        </pc:grpChg>
        <pc:grpChg chg="mod">
          <ac:chgData name="Zabolotna, Kateryna" userId="724a1d14-7a1d-4ba3-a47b-ab98eba40d1a" providerId="ADAL" clId="{42FF804E-5648-4342-A39E-C38A6C181F7D}" dt="2022-07-27T14:18:49.199" v="1978"/>
          <ac:grpSpMkLst>
            <pc:docMk/>
            <pc:sldMk cId="1335003536" sldId="2134806254"/>
            <ac:grpSpMk id="24" creationId="{AEC216B4-3B76-FA56-F1EA-865CD5B0E566}"/>
          </ac:grpSpMkLst>
        </pc:grpChg>
        <pc:grpChg chg="mod">
          <ac:chgData name="Zabolotna, Kateryna" userId="724a1d14-7a1d-4ba3-a47b-ab98eba40d1a" providerId="ADAL" clId="{42FF804E-5648-4342-A39E-C38A6C181F7D}" dt="2022-07-27T14:18:49.199" v="1978"/>
          <ac:grpSpMkLst>
            <pc:docMk/>
            <pc:sldMk cId="1335003536" sldId="2134806254"/>
            <ac:grpSpMk id="26" creationId="{5955C9B4-16C1-394B-3DC4-5F42D9088B82}"/>
          </ac:grpSpMkLst>
        </pc:grpChg>
        <pc:picChg chg="mod">
          <ac:chgData name="Zabolotna, Kateryna" userId="724a1d14-7a1d-4ba3-a47b-ab98eba40d1a" providerId="ADAL" clId="{42FF804E-5648-4342-A39E-C38A6C181F7D}" dt="2022-07-27T14:18:49.199" v="1978"/>
          <ac:picMkLst>
            <pc:docMk/>
            <pc:sldMk cId="1335003536" sldId="2134806254"/>
            <ac:picMk id="25" creationId="{ED18D07A-57C8-E956-5E0C-41B3CACFD290}"/>
          </ac:picMkLst>
        </pc:picChg>
      </pc:sldChg>
      <pc:sldChg chg="add modTransition">
        <pc:chgData name="Zabolotna, Kateryna" userId="724a1d14-7a1d-4ba3-a47b-ab98eba40d1a" providerId="ADAL" clId="{42FF804E-5648-4342-A39E-C38A6C181F7D}" dt="2022-07-28T07:57:15.836" v="3228"/>
        <pc:sldMkLst>
          <pc:docMk/>
          <pc:sldMk cId="1544314198" sldId="2134806254"/>
        </pc:sldMkLst>
      </pc:sldChg>
      <pc:sldChg chg="addSp delSp modSp add del mod">
        <pc:chgData name="Zabolotna, Kateryna" userId="724a1d14-7a1d-4ba3-a47b-ab98eba40d1a" providerId="ADAL" clId="{42FF804E-5648-4342-A39E-C38A6C181F7D}" dt="2022-07-28T07:57:09.956" v="3227" actId="2696"/>
        <pc:sldMkLst>
          <pc:docMk/>
          <pc:sldMk cId="3186182106" sldId="2134806255"/>
        </pc:sldMkLst>
        <pc:spChg chg="mod">
          <ac:chgData name="Zabolotna, Kateryna" userId="724a1d14-7a1d-4ba3-a47b-ab98eba40d1a" providerId="ADAL" clId="{42FF804E-5648-4342-A39E-C38A6C181F7D}" dt="2022-07-27T14:18:53.949" v="1979"/>
          <ac:spMkLst>
            <pc:docMk/>
            <pc:sldMk cId="3186182106" sldId="2134806255"/>
            <ac:spMk id="30" creationId="{FE3BD548-5491-ED42-9C22-786CF50A46B5}"/>
          </ac:spMkLst>
        </pc:spChg>
        <pc:spChg chg="mod">
          <ac:chgData name="Zabolotna, Kateryna" userId="724a1d14-7a1d-4ba3-a47b-ab98eba40d1a" providerId="ADAL" clId="{42FF804E-5648-4342-A39E-C38A6C181F7D}" dt="2022-07-27T14:18:53.949" v="1979"/>
          <ac:spMkLst>
            <pc:docMk/>
            <pc:sldMk cId="3186182106" sldId="2134806255"/>
            <ac:spMk id="31" creationId="{5961C84F-049A-4E4C-BC4B-C9CABCA5F51A}"/>
          </ac:spMkLst>
        </pc:spChg>
        <pc:spChg chg="mod">
          <ac:chgData name="Zabolotna, Kateryna" userId="724a1d14-7a1d-4ba3-a47b-ab98eba40d1a" providerId="ADAL" clId="{42FF804E-5648-4342-A39E-C38A6C181F7D}" dt="2022-07-27T14:18:53.949" v="1979"/>
          <ac:spMkLst>
            <pc:docMk/>
            <pc:sldMk cId="3186182106" sldId="2134806255"/>
            <ac:spMk id="35" creationId="{917D9219-4C5C-6131-5343-8E64D56605F8}"/>
          </ac:spMkLst>
        </pc:spChg>
        <pc:spChg chg="mod">
          <ac:chgData name="Zabolotna, Kateryna" userId="724a1d14-7a1d-4ba3-a47b-ab98eba40d1a" providerId="ADAL" clId="{42FF804E-5648-4342-A39E-C38A6C181F7D}" dt="2022-07-27T14:18:53.949" v="1979"/>
          <ac:spMkLst>
            <pc:docMk/>
            <pc:sldMk cId="3186182106" sldId="2134806255"/>
            <ac:spMk id="36" creationId="{5F107BF5-B16E-49BA-C1E4-B0E066938591}"/>
          </ac:spMkLst>
        </pc:spChg>
        <pc:spChg chg="add del mod">
          <ac:chgData name="Zabolotna, Kateryna" userId="724a1d14-7a1d-4ba3-a47b-ab98eba40d1a" providerId="ADAL" clId="{42FF804E-5648-4342-A39E-C38A6C181F7D}" dt="2022-07-27T14:19:22.464" v="1986"/>
          <ac:spMkLst>
            <pc:docMk/>
            <pc:sldMk cId="3186182106" sldId="2134806255"/>
            <ac:spMk id="40" creationId="{1612989C-609D-5CA6-38D4-73203424D933}"/>
          </ac:spMkLst>
        </pc:spChg>
        <pc:spChg chg="mod">
          <ac:chgData name="Zabolotna, Kateryna" userId="724a1d14-7a1d-4ba3-a47b-ab98eba40d1a" providerId="ADAL" clId="{42FF804E-5648-4342-A39E-C38A6C181F7D}" dt="2022-07-27T14:19:08.627" v="1982" actId="1076"/>
          <ac:spMkLst>
            <pc:docMk/>
            <pc:sldMk cId="3186182106" sldId="2134806255"/>
            <ac:spMk id="46" creationId="{92A65C2B-22ED-4602-BE33-89C742B8B1D2}"/>
          </ac:spMkLst>
        </pc:spChg>
        <pc:spChg chg="mod">
          <ac:chgData name="Zabolotna, Kateryna" userId="724a1d14-7a1d-4ba3-a47b-ab98eba40d1a" providerId="ADAL" clId="{42FF804E-5648-4342-A39E-C38A6C181F7D}" dt="2022-07-27T14:19:08.627" v="1982" actId="1076"/>
          <ac:spMkLst>
            <pc:docMk/>
            <pc:sldMk cId="3186182106" sldId="2134806255"/>
            <ac:spMk id="48" creationId="{3D8423A4-3FAB-4715-9319-EF3F880BB375}"/>
          </ac:spMkLst>
        </pc:spChg>
        <pc:spChg chg="mod">
          <ac:chgData name="Zabolotna, Kateryna" userId="724a1d14-7a1d-4ba3-a47b-ab98eba40d1a" providerId="ADAL" clId="{42FF804E-5648-4342-A39E-C38A6C181F7D}" dt="2022-07-27T14:19:08.627" v="1982" actId="1076"/>
          <ac:spMkLst>
            <pc:docMk/>
            <pc:sldMk cId="3186182106" sldId="2134806255"/>
            <ac:spMk id="49" creationId="{82F4A0A7-584B-3D4B-8EB5-6C36DABFE218}"/>
          </ac:spMkLst>
        </pc:spChg>
        <pc:grpChg chg="mod">
          <ac:chgData name="Zabolotna, Kateryna" userId="724a1d14-7a1d-4ba3-a47b-ab98eba40d1a" providerId="ADAL" clId="{42FF804E-5648-4342-A39E-C38A6C181F7D}" dt="2022-07-27T14:19:17.703" v="1983" actId="1076"/>
          <ac:grpSpMkLst>
            <pc:docMk/>
            <pc:sldMk cId="3186182106" sldId="2134806255"/>
            <ac:grpSpMk id="5" creationId="{0BA97BAB-88A6-4919-883B-13DD8924F9CE}"/>
          </ac:grpSpMkLst>
        </pc:grpChg>
        <pc:grpChg chg="mod">
          <ac:chgData name="Zabolotna, Kateryna" userId="724a1d14-7a1d-4ba3-a47b-ab98eba40d1a" providerId="ADAL" clId="{42FF804E-5648-4342-A39E-C38A6C181F7D}" dt="2022-07-27T14:19:08.627" v="1982" actId="1076"/>
          <ac:grpSpMkLst>
            <pc:docMk/>
            <pc:sldMk cId="3186182106" sldId="2134806255"/>
            <ac:grpSpMk id="22" creationId="{486ACB62-ABE8-4C0D-9A19-E1868AA671E1}"/>
          </ac:grpSpMkLst>
        </pc:grpChg>
        <pc:grpChg chg="add mod">
          <ac:chgData name="Zabolotna, Kateryna" userId="724a1d14-7a1d-4ba3-a47b-ab98eba40d1a" providerId="ADAL" clId="{42FF804E-5648-4342-A39E-C38A6C181F7D}" dt="2022-07-27T14:18:53.949" v="1979"/>
          <ac:grpSpMkLst>
            <pc:docMk/>
            <pc:sldMk cId="3186182106" sldId="2134806255"/>
            <ac:grpSpMk id="23" creationId="{62B061EF-DCFB-21EF-1D06-584449B28D3B}"/>
          </ac:grpSpMkLst>
        </pc:grpChg>
        <pc:grpChg chg="mod">
          <ac:chgData name="Zabolotna, Kateryna" userId="724a1d14-7a1d-4ba3-a47b-ab98eba40d1a" providerId="ADAL" clId="{42FF804E-5648-4342-A39E-C38A6C181F7D}" dt="2022-07-27T14:18:53.949" v="1979"/>
          <ac:grpSpMkLst>
            <pc:docMk/>
            <pc:sldMk cId="3186182106" sldId="2134806255"/>
            <ac:grpSpMk id="24" creationId="{8AECD778-7F94-FD77-68CA-252C661CA3FA}"/>
          </ac:grpSpMkLst>
        </pc:grpChg>
        <pc:grpChg chg="mod">
          <ac:chgData name="Zabolotna, Kateryna" userId="724a1d14-7a1d-4ba3-a47b-ab98eba40d1a" providerId="ADAL" clId="{42FF804E-5648-4342-A39E-C38A6C181F7D}" dt="2022-07-27T14:18:53.949" v="1979"/>
          <ac:grpSpMkLst>
            <pc:docMk/>
            <pc:sldMk cId="3186182106" sldId="2134806255"/>
            <ac:grpSpMk id="26" creationId="{46421561-7D21-6489-2755-BCB9674033A0}"/>
          </ac:grpSpMkLst>
        </pc:grpChg>
        <pc:picChg chg="mod">
          <ac:chgData name="Zabolotna, Kateryna" userId="724a1d14-7a1d-4ba3-a47b-ab98eba40d1a" providerId="ADAL" clId="{42FF804E-5648-4342-A39E-C38A6C181F7D}" dt="2022-07-27T14:18:53.949" v="1979"/>
          <ac:picMkLst>
            <pc:docMk/>
            <pc:sldMk cId="3186182106" sldId="2134806255"/>
            <ac:picMk id="25" creationId="{79319AD3-F728-D9AB-AA3E-173FE257113C}"/>
          </ac:picMkLst>
        </pc:picChg>
      </pc:sldChg>
      <pc:sldChg chg="add modTransition">
        <pc:chgData name="Zabolotna, Kateryna" userId="724a1d14-7a1d-4ba3-a47b-ab98eba40d1a" providerId="ADAL" clId="{42FF804E-5648-4342-A39E-C38A6C181F7D}" dt="2022-07-28T07:57:15.836" v="3228"/>
        <pc:sldMkLst>
          <pc:docMk/>
          <pc:sldMk cId="3398361931" sldId="2134806255"/>
        </pc:sldMkLst>
      </pc:sldChg>
      <pc:sldChg chg="modSp add del mod">
        <pc:chgData name="Zabolotna, Kateryna" userId="724a1d14-7a1d-4ba3-a47b-ab98eba40d1a" providerId="ADAL" clId="{42FF804E-5648-4342-A39E-C38A6C181F7D}" dt="2022-07-28T07:57:09.956" v="3227" actId="2696"/>
        <pc:sldMkLst>
          <pc:docMk/>
          <pc:sldMk cId="1901243352" sldId="2134806256"/>
        </pc:sldMkLst>
        <pc:spChg chg="mod">
          <ac:chgData name="Zabolotna, Kateryna" userId="724a1d14-7a1d-4ba3-a47b-ab98eba40d1a" providerId="ADAL" clId="{42FF804E-5648-4342-A39E-C38A6C181F7D}" dt="2022-07-27T20:42:49.260" v="2013" actId="1076"/>
          <ac:spMkLst>
            <pc:docMk/>
            <pc:sldMk cId="1901243352" sldId="2134806256"/>
            <ac:spMk id="6" creationId="{87211C43-C9A7-478C-B291-660B7A3DB7FE}"/>
          </ac:spMkLst>
        </pc:spChg>
      </pc:sldChg>
      <pc:sldChg chg="add">
        <pc:chgData name="Zabolotna, Kateryna" userId="724a1d14-7a1d-4ba3-a47b-ab98eba40d1a" providerId="ADAL" clId="{42FF804E-5648-4342-A39E-C38A6C181F7D}" dt="2022-07-28T07:57:15.836" v="3228"/>
        <pc:sldMkLst>
          <pc:docMk/>
          <pc:sldMk cId="2338792719" sldId="2134806256"/>
        </pc:sldMkLst>
      </pc:sldChg>
      <pc:sldChg chg="add del mod modShow">
        <pc:chgData name="Zabolotna, Kateryna" userId="724a1d14-7a1d-4ba3-a47b-ab98eba40d1a" providerId="ADAL" clId="{42FF804E-5648-4342-A39E-C38A6C181F7D}" dt="2022-07-28T07:57:09.956" v="3227" actId="2696"/>
        <pc:sldMkLst>
          <pc:docMk/>
          <pc:sldMk cId="1055718059" sldId="2134806257"/>
        </pc:sldMkLst>
      </pc:sldChg>
      <pc:sldChg chg="add">
        <pc:chgData name="Zabolotna, Kateryna" userId="724a1d14-7a1d-4ba3-a47b-ab98eba40d1a" providerId="ADAL" clId="{42FF804E-5648-4342-A39E-C38A6C181F7D}" dt="2022-07-28T07:57:15.836" v="3228"/>
        <pc:sldMkLst>
          <pc:docMk/>
          <pc:sldMk cId="1142236548" sldId="2134806257"/>
        </pc:sldMkLst>
      </pc:sldChg>
      <pc:sldChg chg="add">
        <pc:chgData name="Zabolotna, Kateryna" userId="724a1d14-7a1d-4ba3-a47b-ab98eba40d1a" providerId="ADAL" clId="{42FF804E-5648-4342-A39E-C38A6C181F7D}" dt="2022-07-28T07:57:15.836" v="3228"/>
        <pc:sldMkLst>
          <pc:docMk/>
          <pc:sldMk cId="833292902" sldId="2134806258"/>
        </pc:sldMkLst>
      </pc:sldChg>
      <pc:sldChg chg="add del">
        <pc:chgData name="Zabolotna, Kateryna" userId="724a1d14-7a1d-4ba3-a47b-ab98eba40d1a" providerId="ADAL" clId="{42FF804E-5648-4342-A39E-C38A6C181F7D}" dt="2022-07-28T07:57:09.956" v="3227" actId="2696"/>
        <pc:sldMkLst>
          <pc:docMk/>
          <pc:sldMk cId="980469753" sldId="2134806258"/>
        </pc:sldMkLst>
      </pc:sldChg>
      <pc:sldChg chg="add del mod modShow">
        <pc:chgData name="Zabolotna, Kateryna" userId="724a1d14-7a1d-4ba3-a47b-ab98eba40d1a" providerId="ADAL" clId="{42FF804E-5648-4342-A39E-C38A6C181F7D}" dt="2022-07-28T07:57:09.956" v="3227" actId="2696"/>
        <pc:sldMkLst>
          <pc:docMk/>
          <pc:sldMk cId="578334656" sldId="2134806259"/>
        </pc:sldMkLst>
      </pc:sldChg>
      <pc:sldChg chg="add modTransition">
        <pc:chgData name="Zabolotna, Kateryna" userId="724a1d14-7a1d-4ba3-a47b-ab98eba40d1a" providerId="ADAL" clId="{42FF804E-5648-4342-A39E-C38A6C181F7D}" dt="2022-07-28T07:57:15.836" v="3228"/>
        <pc:sldMkLst>
          <pc:docMk/>
          <pc:sldMk cId="1959459534" sldId="2134806265"/>
        </pc:sldMkLst>
      </pc:sldChg>
      <pc:sldChg chg="add del">
        <pc:chgData name="Zabolotna, Kateryna" userId="724a1d14-7a1d-4ba3-a47b-ab98eba40d1a" providerId="ADAL" clId="{42FF804E-5648-4342-A39E-C38A6C181F7D}" dt="2022-07-28T07:57:09.956" v="3227" actId="2696"/>
        <pc:sldMkLst>
          <pc:docMk/>
          <pc:sldMk cId="3293112031" sldId="2134806265"/>
        </pc:sldMkLst>
      </pc:sldChg>
      <pc:sldChg chg="add del mod modShow">
        <pc:chgData name="Zabolotna, Kateryna" userId="724a1d14-7a1d-4ba3-a47b-ab98eba40d1a" providerId="ADAL" clId="{42FF804E-5648-4342-A39E-C38A6C181F7D}" dt="2022-07-28T07:57:09.956" v="3227" actId="2696"/>
        <pc:sldMkLst>
          <pc:docMk/>
          <pc:sldMk cId="1807636439" sldId="2134806266"/>
        </pc:sldMkLst>
      </pc:sldChg>
      <pc:sldChg chg="add modTransition">
        <pc:chgData name="Zabolotna, Kateryna" userId="724a1d14-7a1d-4ba3-a47b-ab98eba40d1a" providerId="ADAL" clId="{42FF804E-5648-4342-A39E-C38A6C181F7D}" dt="2022-07-28T07:57:15.836" v="3228"/>
        <pc:sldMkLst>
          <pc:docMk/>
          <pc:sldMk cId="2465727064" sldId="2134806266"/>
        </pc:sldMkLst>
      </pc:sldChg>
      <pc:sldChg chg="add ord">
        <pc:chgData name="Zabolotna, Kateryna" userId="724a1d14-7a1d-4ba3-a47b-ab98eba40d1a" providerId="ADAL" clId="{42FF804E-5648-4342-A39E-C38A6C181F7D}" dt="2022-07-28T07:57:34.643" v="3229" actId="20578"/>
        <pc:sldMkLst>
          <pc:docMk/>
          <pc:sldMk cId="3802723326" sldId="2134806268"/>
        </pc:sldMkLst>
      </pc:sldChg>
      <pc:sldChg chg="add">
        <pc:chgData name="Zabolotna, Kateryna" userId="724a1d14-7a1d-4ba3-a47b-ab98eba40d1a" providerId="ADAL" clId="{42FF804E-5648-4342-A39E-C38A6C181F7D}" dt="2022-07-27T12:50:45.619" v="1281"/>
        <pc:sldMkLst>
          <pc:docMk/>
          <pc:sldMk cId="1956464481" sldId="2147471512"/>
        </pc:sldMkLst>
      </pc:sldChg>
      <pc:sldChg chg="add del ord">
        <pc:chgData name="Zabolotna, Kateryna" userId="724a1d14-7a1d-4ba3-a47b-ab98eba40d1a" providerId="ADAL" clId="{42FF804E-5648-4342-A39E-C38A6C181F7D}" dt="2022-07-27T12:50:40.255" v="1280" actId="2696"/>
        <pc:sldMkLst>
          <pc:docMk/>
          <pc:sldMk cId="2833715356" sldId="2147471512"/>
        </pc:sldMkLst>
      </pc:sldChg>
      <pc:sldChg chg="add del mod modShow">
        <pc:chgData name="Zabolotna, Kateryna" userId="724a1d14-7a1d-4ba3-a47b-ab98eba40d1a" providerId="ADAL" clId="{42FF804E-5648-4342-A39E-C38A6C181F7D}" dt="2022-07-18T11:54:59.097" v="1221" actId="2696"/>
        <pc:sldMkLst>
          <pc:docMk/>
          <pc:sldMk cId="2278438045" sldId="2147471519"/>
        </pc:sldMkLst>
      </pc:sldChg>
      <pc:sldChg chg="add modTransition">
        <pc:chgData name="Zabolotna, Kateryna" userId="724a1d14-7a1d-4ba3-a47b-ab98eba40d1a" providerId="ADAL" clId="{42FF804E-5648-4342-A39E-C38A6C181F7D}" dt="2022-07-27T12:50:45.619" v="1281"/>
        <pc:sldMkLst>
          <pc:docMk/>
          <pc:sldMk cId="3979925538" sldId="2147471520"/>
        </pc:sldMkLst>
      </pc:sldChg>
      <pc:sldChg chg="addSp delSp modSp add del mod delAnim">
        <pc:chgData name="Zabolotna, Kateryna" userId="724a1d14-7a1d-4ba3-a47b-ab98eba40d1a" providerId="ADAL" clId="{42FF804E-5648-4342-A39E-C38A6C181F7D}" dt="2022-07-27T12:50:40.255" v="1280" actId="2696"/>
        <pc:sldMkLst>
          <pc:docMk/>
          <pc:sldMk cId="4017635624" sldId="2147471520"/>
        </pc:sldMkLst>
        <pc:spChg chg="mod">
          <ac:chgData name="Zabolotna, Kateryna" userId="724a1d14-7a1d-4ba3-a47b-ab98eba40d1a" providerId="ADAL" clId="{42FF804E-5648-4342-A39E-C38A6C181F7D}" dt="2022-07-18T11:25:33.269" v="480" actId="20577"/>
          <ac:spMkLst>
            <pc:docMk/>
            <pc:sldMk cId="4017635624" sldId="2147471520"/>
            <ac:spMk id="14" creationId="{4748CB45-2229-4391-BC44-375CE648858A}"/>
          </ac:spMkLst>
        </pc:spChg>
        <pc:spChg chg="del">
          <ac:chgData name="Zabolotna, Kateryna" userId="724a1d14-7a1d-4ba3-a47b-ab98eba40d1a" providerId="ADAL" clId="{42FF804E-5648-4342-A39E-C38A6C181F7D}" dt="2022-07-18T11:25:45.844" v="482" actId="478"/>
          <ac:spMkLst>
            <pc:docMk/>
            <pc:sldMk cId="4017635624" sldId="2147471520"/>
            <ac:spMk id="49" creationId="{919B55A6-06B7-4172-94AF-507BA8D4EA38}"/>
          </ac:spMkLst>
        </pc:spChg>
        <pc:spChg chg="del">
          <ac:chgData name="Zabolotna, Kateryna" userId="724a1d14-7a1d-4ba3-a47b-ab98eba40d1a" providerId="ADAL" clId="{42FF804E-5648-4342-A39E-C38A6C181F7D}" dt="2022-07-18T11:25:45.844" v="482" actId="478"/>
          <ac:spMkLst>
            <pc:docMk/>
            <pc:sldMk cId="4017635624" sldId="2147471520"/>
            <ac:spMk id="50" creationId="{FDB4AD36-8609-4620-A506-D9897160FB4E}"/>
          </ac:spMkLst>
        </pc:spChg>
        <pc:spChg chg="del">
          <ac:chgData name="Zabolotna, Kateryna" userId="724a1d14-7a1d-4ba3-a47b-ab98eba40d1a" providerId="ADAL" clId="{42FF804E-5648-4342-A39E-C38A6C181F7D}" dt="2022-07-18T11:25:45.844" v="482" actId="478"/>
          <ac:spMkLst>
            <pc:docMk/>
            <pc:sldMk cId="4017635624" sldId="2147471520"/>
            <ac:spMk id="51" creationId="{49FC57E3-13A7-4097-A376-643AC6BB8ED8}"/>
          </ac:spMkLst>
        </pc:spChg>
        <pc:spChg chg="add mod">
          <ac:chgData name="Zabolotna, Kateryna" userId="724a1d14-7a1d-4ba3-a47b-ab98eba40d1a" providerId="ADAL" clId="{42FF804E-5648-4342-A39E-C38A6C181F7D}" dt="2022-07-18T11:35:27.704" v="1014" actId="1076"/>
          <ac:spMkLst>
            <pc:docMk/>
            <pc:sldMk cId="4017635624" sldId="2147471520"/>
            <ac:spMk id="54" creationId="{41441376-BFAF-FF9E-5055-0C4613F861E6}"/>
          </ac:spMkLst>
        </pc:spChg>
        <pc:spChg chg="add mod">
          <ac:chgData name="Zabolotna, Kateryna" userId="724a1d14-7a1d-4ba3-a47b-ab98eba40d1a" providerId="ADAL" clId="{42FF804E-5648-4342-A39E-C38A6C181F7D}" dt="2022-07-18T11:35:27.704" v="1014" actId="1076"/>
          <ac:spMkLst>
            <pc:docMk/>
            <pc:sldMk cId="4017635624" sldId="2147471520"/>
            <ac:spMk id="55" creationId="{589D993B-D8F0-6F47-831D-C28F1AE8A659}"/>
          </ac:spMkLst>
        </pc:spChg>
        <pc:spChg chg="add mod">
          <ac:chgData name="Zabolotna, Kateryna" userId="724a1d14-7a1d-4ba3-a47b-ab98eba40d1a" providerId="ADAL" clId="{42FF804E-5648-4342-A39E-C38A6C181F7D}" dt="2022-07-18T11:35:27.704" v="1014" actId="1076"/>
          <ac:spMkLst>
            <pc:docMk/>
            <pc:sldMk cId="4017635624" sldId="2147471520"/>
            <ac:spMk id="56" creationId="{A8EC19DA-FAA0-8599-FC8B-A47E40B888D0}"/>
          </ac:spMkLst>
        </pc:spChg>
        <pc:spChg chg="add mod">
          <ac:chgData name="Zabolotna, Kateryna" userId="724a1d14-7a1d-4ba3-a47b-ab98eba40d1a" providerId="ADAL" clId="{42FF804E-5648-4342-A39E-C38A6C181F7D}" dt="2022-07-18T11:35:27.704" v="1014" actId="1076"/>
          <ac:spMkLst>
            <pc:docMk/>
            <pc:sldMk cId="4017635624" sldId="2147471520"/>
            <ac:spMk id="57" creationId="{8CCC03B8-9701-B8CD-5E47-CB01949DB460}"/>
          </ac:spMkLst>
        </pc:spChg>
        <pc:spChg chg="add mod">
          <ac:chgData name="Zabolotna, Kateryna" userId="724a1d14-7a1d-4ba3-a47b-ab98eba40d1a" providerId="ADAL" clId="{42FF804E-5648-4342-A39E-C38A6C181F7D}" dt="2022-07-18T11:35:27.704" v="1014" actId="1076"/>
          <ac:spMkLst>
            <pc:docMk/>
            <pc:sldMk cId="4017635624" sldId="2147471520"/>
            <ac:spMk id="58" creationId="{CB4127DD-2A3D-37A3-DC8C-96CFCA830A13}"/>
          </ac:spMkLst>
        </pc:spChg>
        <pc:spChg chg="add mod">
          <ac:chgData name="Zabolotna, Kateryna" userId="724a1d14-7a1d-4ba3-a47b-ab98eba40d1a" providerId="ADAL" clId="{42FF804E-5648-4342-A39E-C38A6C181F7D}" dt="2022-07-18T11:35:27.704" v="1014" actId="1076"/>
          <ac:spMkLst>
            <pc:docMk/>
            <pc:sldMk cId="4017635624" sldId="2147471520"/>
            <ac:spMk id="59" creationId="{3A6F2709-7A7C-35FA-D73A-F10D8838BAE2}"/>
          </ac:spMkLst>
        </pc:spChg>
        <pc:spChg chg="add mod">
          <ac:chgData name="Zabolotna, Kateryna" userId="724a1d14-7a1d-4ba3-a47b-ab98eba40d1a" providerId="ADAL" clId="{42FF804E-5648-4342-A39E-C38A6C181F7D}" dt="2022-07-18T11:35:47.924" v="1039" actId="5793"/>
          <ac:spMkLst>
            <pc:docMk/>
            <pc:sldMk cId="4017635624" sldId="2147471520"/>
            <ac:spMk id="60" creationId="{39557944-CA6D-3ED9-5411-FFFD1B80DDD4}"/>
          </ac:spMkLst>
        </pc:spChg>
        <pc:grpChg chg="del">
          <ac:chgData name="Zabolotna, Kateryna" userId="724a1d14-7a1d-4ba3-a47b-ab98eba40d1a" providerId="ADAL" clId="{42FF804E-5648-4342-A39E-C38A6C181F7D}" dt="2022-07-18T11:25:42.307" v="481" actId="478"/>
          <ac:grpSpMkLst>
            <pc:docMk/>
            <pc:sldMk cId="4017635624" sldId="2147471520"/>
            <ac:grpSpMk id="2" creationId="{EF28A321-6EC3-471F-B8C0-4E12BA205264}"/>
          </ac:grpSpMkLst>
        </pc:grpChg>
        <pc:grpChg chg="del">
          <ac:chgData name="Zabolotna, Kateryna" userId="724a1d14-7a1d-4ba3-a47b-ab98eba40d1a" providerId="ADAL" clId="{42FF804E-5648-4342-A39E-C38A6C181F7D}" dt="2022-07-18T11:25:42.307" v="481" actId="478"/>
          <ac:grpSpMkLst>
            <pc:docMk/>
            <pc:sldMk cId="4017635624" sldId="2147471520"/>
            <ac:grpSpMk id="5" creationId="{83634680-E663-4878-8B8C-911BAE9BA99E}"/>
          </ac:grpSpMkLst>
        </pc:grpChg>
        <pc:grpChg chg="del">
          <ac:chgData name="Zabolotna, Kateryna" userId="724a1d14-7a1d-4ba3-a47b-ab98eba40d1a" providerId="ADAL" clId="{42FF804E-5648-4342-A39E-C38A6C181F7D}" dt="2022-07-18T11:25:42.307" v="481" actId="478"/>
          <ac:grpSpMkLst>
            <pc:docMk/>
            <pc:sldMk cId="4017635624" sldId="2147471520"/>
            <ac:grpSpMk id="6" creationId="{457D1E26-00F5-45F5-839E-023F419B6799}"/>
          </ac:grpSpMkLst>
        </pc:grpChg>
        <pc:picChg chg="del">
          <ac:chgData name="Zabolotna, Kateryna" userId="724a1d14-7a1d-4ba3-a47b-ab98eba40d1a" providerId="ADAL" clId="{42FF804E-5648-4342-A39E-C38A6C181F7D}" dt="2022-07-18T11:25:42.307" v="481" actId="478"/>
          <ac:picMkLst>
            <pc:docMk/>
            <pc:sldMk cId="4017635624" sldId="2147471520"/>
            <ac:picMk id="4" creationId="{2565A8E5-0675-493C-8100-588A25A2C3B4}"/>
          </ac:picMkLst>
        </pc:picChg>
        <pc:picChg chg="del">
          <ac:chgData name="Zabolotna, Kateryna" userId="724a1d14-7a1d-4ba3-a47b-ab98eba40d1a" providerId="ADAL" clId="{42FF804E-5648-4342-A39E-C38A6C181F7D}" dt="2022-07-18T11:25:42.307" v="481" actId="478"/>
          <ac:picMkLst>
            <pc:docMk/>
            <pc:sldMk cId="4017635624" sldId="2147471520"/>
            <ac:picMk id="52" creationId="{7C97B528-26A0-421E-BA0B-CD56584E877A}"/>
          </ac:picMkLst>
        </pc:picChg>
        <pc:picChg chg="del">
          <ac:chgData name="Zabolotna, Kateryna" userId="724a1d14-7a1d-4ba3-a47b-ab98eba40d1a" providerId="ADAL" clId="{42FF804E-5648-4342-A39E-C38A6C181F7D}" dt="2022-07-18T11:25:42.307" v="481" actId="478"/>
          <ac:picMkLst>
            <pc:docMk/>
            <pc:sldMk cId="4017635624" sldId="2147471520"/>
            <ac:picMk id="53" creationId="{D337E4D9-09AA-4822-9EA3-B9BD04E47EFE}"/>
          </ac:picMkLst>
        </pc:picChg>
      </pc:sldChg>
      <pc:sldChg chg="add del mod modShow">
        <pc:chgData name="Zabolotna, Kateryna" userId="724a1d14-7a1d-4ba3-a47b-ab98eba40d1a" providerId="ADAL" clId="{42FF804E-5648-4342-A39E-C38A6C181F7D}" dt="2022-07-27T12:50:34.525" v="1279" actId="2696"/>
        <pc:sldMkLst>
          <pc:docMk/>
          <pc:sldMk cId="1618403279" sldId="2147471525"/>
        </pc:sldMkLst>
      </pc:sldChg>
      <pc:sldChg chg="add modTransition">
        <pc:chgData name="Zabolotna, Kateryna" userId="724a1d14-7a1d-4ba3-a47b-ab98eba40d1a" providerId="ADAL" clId="{42FF804E-5648-4342-A39E-C38A6C181F7D}" dt="2022-07-27T12:50:45.619" v="1281"/>
        <pc:sldMkLst>
          <pc:docMk/>
          <pc:sldMk cId="2193004965" sldId="2147471526"/>
        </pc:sldMkLst>
      </pc:sldChg>
      <pc:sldChg chg="addSp modSp add del mod ord">
        <pc:chgData name="Zabolotna, Kateryna" userId="724a1d14-7a1d-4ba3-a47b-ab98eba40d1a" providerId="ADAL" clId="{42FF804E-5648-4342-A39E-C38A6C181F7D}" dt="2022-07-27T12:50:40.255" v="1280" actId="2696"/>
        <pc:sldMkLst>
          <pc:docMk/>
          <pc:sldMk cId="2571088561" sldId="2147471526"/>
        </pc:sldMkLst>
        <pc:spChg chg="add mod">
          <ac:chgData name="Zabolotna, Kateryna" userId="724a1d14-7a1d-4ba3-a47b-ab98eba40d1a" providerId="ADAL" clId="{42FF804E-5648-4342-A39E-C38A6C181F7D}" dt="2022-07-18T11:29:04.770" v="497"/>
          <ac:spMkLst>
            <pc:docMk/>
            <pc:sldMk cId="2571088561" sldId="2147471526"/>
            <ac:spMk id="6" creationId="{BCA5CB24-96B5-FE41-5A3E-144A791EBA40}"/>
          </ac:spMkLst>
        </pc:spChg>
        <pc:spChg chg="add mod">
          <ac:chgData name="Zabolotna, Kateryna" userId="724a1d14-7a1d-4ba3-a47b-ab98eba40d1a" providerId="ADAL" clId="{42FF804E-5648-4342-A39E-C38A6C181F7D}" dt="2022-07-18T11:29:04.770" v="497"/>
          <ac:spMkLst>
            <pc:docMk/>
            <pc:sldMk cId="2571088561" sldId="2147471526"/>
            <ac:spMk id="7" creationId="{32C8C356-4E47-D1ED-22AF-CBA4FD03042B}"/>
          </ac:spMkLst>
        </pc:spChg>
        <pc:spChg chg="add mod">
          <ac:chgData name="Zabolotna, Kateryna" userId="724a1d14-7a1d-4ba3-a47b-ab98eba40d1a" providerId="ADAL" clId="{42FF804E-5648-4342-A39E-C38A6C181F7D}" dt="2022-07-18T11:29:04.770" v="497"/>
          <ac:spMkLst>
            <pc:docMk/>
            <pc:sldMk cId="2571088561" sldId="2147471526"/>
            <ac:spMk id="8" creationId="{AA996212-26F3-C933-D09A-2CCFEF7B0C30}"/>
          </ac:spMkLst>
        </pc:spChg>
        <pc:spChg chg="add mod">
          <ac:chgData name="Zabolotna, Kateryna" userId="724a1d14-7a1d-4ba3-a47b-ab98eba40d1a" providerId="ADAL" clId="{42FF804E-5648-4342-A39E-C38A6C181F7D}" dt="2022-07-18T11:29:04.770" v="497"/>
          <ac:spMkLst>
            <pc:docMk/>
            <pc:sldMk cId="2571088561" sldId="2147471526"/>
            <ac:spMk id="11" creationId="{4C8D07C6-E7CC-AE9C-9589-98FABD77BB2D}"/>
          </ac:spMkLst>
        </pc:spChg>
        <pc:spChg chg="add mod">
          <ac:chgData name="Zabolotna, Kateryna" userId="724a1d14-7a1d-4ba3-a47b-ab98eba40d1a" providerId="ADAL" clId="{42FF804E-5648-4342-A39E-C38A6C181F7D}" dt="2022-07-18T11:29:04.770" v="497"/>
          <ac:spMkLst>
            <pc:docMk/>
            <pc:sldMk cId="2571088561" sldId="2147471526"/>
            <ac:spMk id="13" creationId="{EC745E67-8CD7-AE42-DF15-D87F8BF8F1FB}"/>
          </ac:spMkLst>
        </pc:spChg>
        <pc:spChg chg="mod">
          <ac:chgData name="Zabolotna, Kateryna" userId="724a1d14-7a1d-4ba3-a47b-ab98eba40d1a" providerId="ADAL" clId="{42FF804E-5648-4342-A39E-C38A6C181F7D}" dt="2022-07-18T11:27:43.116" v="496" actId="20577"/>
          <ac:spMkLst>
            <pc:docMk/>
            <pc:sldMk cId="2571088561" sldId="2147471526"/>
            <ac:spMk id="14" creationId="{4748CB45-2229-4391-BC44-375CE648858A}"/>
          </ac:spMkLst>
        </pc:spChg>
        <pc:spChg chg="add mod">
          <ac:chgData name="Zabolotna, Kateryna" userId="724a1d14-7a1d-4ba3-a47b-ab98eba40d1a" providerId="ADAL" clId="{42FF804E-5648-4342-A39E-C38A6C181F7D}" dt="2022-07-18T11:29:21.868" v="499" actId="167"/>
          <ac:spMkLst>
            <pc:docMk/>
            <pc:sldMk cId="2571088561" sldId="2147471526"/>
            <ac:spMk id="19" creationId="{F103CDB1-5D31-D191-A076-938CC8187240}"/>
          </ac:spMkLst>
        </pc:spChg>
        <pc:picChg chg="add mod">
          <ac:chgData name="Zabolotna, Kateryna" userId="724a1d14-7a1d-4ba3-a47b-ab98eba40d1a" providerId="ADAL" clId="{42FF804E-5648-4342-A39E-C38A6C181F7D}" dt="2022-07-18T11:29:04.770" v="497"/>
          <ac:picMkLst>
            <pc:docMk/>
            <pc:sldMk cId="2571088561" sldId="2147471526"/>
            <ac:picMk id="9" creationId="{A5963DD5-96F2-F31A-DE5E-A62C520AA3C0}"/>
          </ac:picMkLst>
        </pc:picChg>
        <pc:picChg chg="add mod">
          <ac:chgData name="Zabolotna, Kateryna" userId="724a1d14-7a1d-4ba3-a47b-ab98eba40d1a" providerId="ADAL" clId="{42FF804E-5648-4342-A39E-C38A6C181F7D}" dt="2022-07-18T11:29:04.770" v="497"/>
          <ac:picMkLst>
            <pc:docMk/>
            <pc:sldMk cId="2571088561" sldId="2147471526"/>
            <ac:picMk id="10" creationId="{610C88B0-046B-F946-34B0-0137BE2CB9F2}"/>
          </ac:picMkLst>
        </pc:picChg>
        <pc:picChg chg="add mod">
          <ac:chgData name="Zabolotna, Kateryna" userId="724a1d14-7a1d-4ba3-a47b-ab98eba40d1a" providerId="ADAL" clId="{42FF804E-5648-4342-A39E-C38A6C181F7D}" dt="2022-07-18T11:29:04.770" v="497"/>
          <ac:picMkLst>
            <pc:docMk/>
            <pc:sldMk cId="2571088561" sldId="2147471526"/>
            <ac:picMk id="12" creationId="{F335A642-A2AC-7079-A5B0-283DAC49C85D}"/>
          </ac:picMkLst>
        </pc:picChg>
        <pc:picChg chg="add mod">
          <ac:chgData name="Zabolotna, Kateryna" userId="724a1d14-7a1d-4ba3-a47b-ab98eba40d1a" providerId="ADAL" clId="{42FF804E-5648-4342-A39E-C38A6C181F7D}" dt="2022-07-18T11:29:31.117" v="501" actId="1076"/>
          <ac:picMkLst>
            <pc:docMk/>
            <pc:sldMk cId="2571088561" sldId="2147471526"/>
            <ac:picMk id="18" creationId="{F1CCF4ED-9083-035D-CCF7-AFF84F1FDB22}"/>
          </ac:picMkLst>
        </pc:picChg>
      </pc:sldChg>
      <pc:sldChg chg="add modTransition">
        <pc:chgData name="Zabolotna, Kateryna" userId="724a1d14-7a1d-4ba3-a47b-ab98eba40d1a" providerId="ADAL" clId="{42FF804E-5648-4342-A39E-C38A6C181F7D}" dt="2022-07-27T12:50:45.619" v="1281"/>
        <pc:sldMkLst>
          <pc:docMk/>
          <pc:sldMk cId="1383871180" sldId="2147471527"/>
        </pc:sldMkLst>
      </pc:sldChg>
      <pc:sldChg chg="addSp modSp new add del mod">
        <pc:chgData name="Zabolotna, Kateryna" userId="724a1d14-7a1d-4ba3-a47b-ab98eba40d1a" providerId="ADAL" clId="{42FF804E-5648-4342-A39E-C38A6C181F7D}" dt="2022-07-27T12:50:40.255" v="1280" actId="2696"/>
        <pc:sldMkLst>
          <pc:docMk/>
          <pc:sldMk cId="2902068451" sldId="2147471527"/>
        </pc:sldMkLst>
        <pc:spChg chg="add mod">
          <ac:chgData name="Zabolotna, Kateryna" userId="724a1d14-7a1d-4ba3-a47b-ab98eba40d1a" providerId="ADAL" clId="{42FF804E-5648-4342-A39E-C38A6C181F7D}" dt="2022-07-18T11:30:27.857" v="519" actId="20577"/>
          <ac:spMkLst>
            <pc:docMk/>
            <pc:sldMk cId="2902068451" sldId="2147471527"/>
            <ac:spMk id="2" creationId="{9B75C41E-6102-6188-803B-316F9661CD5D}"/>
          </ac:spMkLst>
        </pc:spChg>
      </pc:sldChg>
      <pc:sldChg chg="addSp delSp modSp add mod ord delAnim modAnim">
        <pc:chgData name="Zabolotna, Kateryna" userId="724a1d14-7a1d-4ba3-a47b-ab98eba40d1a" providerId="ADAL" clId="{42FF804E-5648-4342-A39E-C38A6C181F7D}" dt="2022-07-27T21:33:53.023" v="2938" actId="20578"/>
        <pc:sldMkLst>
          <pc:docMk/>
          <pc:sldMk cId="0" sldId="2147471528"/>
        </pc:sldMkLst>
        <pc:spChg chg="mod">
          <ac:chgData name="Zabolotna, Kateryna" userId="724a1d14-7a1d-4ba3-a47b-ab98eba40d1a" providerId="ADAL" clId="{42FF804E-5648-4342-A39E-C38A6C181F7D}" dt="2022-07-27T14:10:50.211" v="1739"/>
          <ac:spMkLst>
            <pc:docMk/>
            <pc:sldMk cId="0" sldId="2147471528"/>
            <ac:spMk id="25" creationId="{BFC06C42-D1FE-6AB9-D619-0A5CA483BC5B}"/>
          </ac:spMkLst>
        </pc:spChg>
        <pc:spChg chg="mod">
          <ac:chgData name="Zabolotna, Kateryna" userId="724a1d14-7a1d-4ba3-a47b-ab98eba40d1a" providerId="ADAL" clId="{42FF804E-5648-4342-A39E-C38A6C181F7D}" dt="2022-07-27T14:10:50.211" v="1739"/>
          <ac:spMkLst>
            <pc:docMk/>
            <pc:sldMk cId="0" sldId="2147471528"/>
            <ac:spMk id="36" creationId="{DDAD0C52-8F34-2D92-7C1D-D707AC2FCB4E}"/>
          </ac:spMkLst>
        </pc:spChg>
        <pc:spChg chg="mod">
          <ac:chgData name="Zabolotna, Kateryna" userId="724a1d14-7a1d-4ba3-a47b-ab98eba40d1a" providerId="ADAL" clId="{42FF804E-5648-4342-A39E-C38A6C181F7D}" dt="2022-07-27T14:11:34.088" v="1790" actId="20577"/>
          <ac:spMkLst>
            <pc:docMk/>
            <pc:sldMk cId="0" sldId="2147471528"/>
            <ac:spMk id="41" creationId="{35934393-891D-00F3-721A-637E9A576FB7}"/>
          </ac:spMkLst>
        </pc:spChg>
        <pc:spChg chg="mod">
          <ac:chgData name="Zabolotna, Kateryna" userId="724a1d14-7a1d-4ba3-a47b-ab98eba40d1a" providerId="ADAL" clId="{42FF804E-5648-4342-A39E-C38A6C181F7D}" dt="2022-07-27T14:10:50.211" v="1739"/>
          <ac:spMkLst>
            <pc:docMk/>
            <pc:sldMk cId="0" sldId="2147471528"/>
            <ac:spMk id="45" creationId="{B0C69596-0FED-62BE-72B4-8B029C2775EE}"/>
          </ac:spMkLst>
        </pc:spChg>
        <pc:spChg chg="mod">
          <ac:chgData name="Zabolotna, Kateryna" userId="724a1d14-7a1d-4ba3-a47b-ab98eba40d1a" providerId="ADAL" clId="{42FF804E-5648-4342-A39E-C38A6C181F7D}" dt="2022-07-27T14:11:46.587" v="1797" actId="1037"/>
          <ac:spMkLst>
            <pc:docMk/>
            <pc:sldMk cId="0" sldId="2147471528"/>
            <ac:spMk id="46" creationId="{D47FFDC1-A15A-466A-80E5-DC40819CB9C6}"/>
          </ac:spMkLst>
        </pc:spChg>
        <pc:spChg chg="mod">
          <ac:chgData name="Zabolotna, Kateryna" userId="724a1d14-7a1d-4ba3-a47b-ab98eba40d1a" providerId="ADAL" clId="{42FF804E-5648-4342-A39E-C38A6C181F7D}" dt="2022-07-27T14:11:46.587" v="1797" actId="1037"/>
          <ac:spMkLst>
            <pc:docMk/>
            <pc:sldMk cId="0" sldId="2147471528"/>
            <ac:spMk id="47" creationId="{BCCA05D2-9051-48BC-8DEF-738215CD95EF}"/>
          </ac:spMkLst>
        </pc:spChg>
        <pc:spChg chg="add mod">
          <ac:chgData name="Zabolotna, Kateryna" userId="724a1d14-7a1d-4ba3-a47b-ab98eba40d1a" providerId="ADAL" clId="{42FF804E-5648-4342-A39E-C38A6C181F7D}" dt="2022-07-27T14:11:46.587" v="1797" actId="1037"/>
          <ac:spMkLst>
            <pc:docMk/>
            <pc:sldMk cId="0" sldId="2147471528"/>
            <ac:spMk id="48" creationId="{C09C632F-C56D-D021-2761-F2F76882228B}"/>
          </ac:spMkLst>
        </pc:spChg>
        <pc:spChg chg="mod">
          <ac:chgData name="Zabolotna, Kateryna" userId="724a1d14-7a1d-4ba3-a47b-ab98eba40d1a" providerId="ADAL" clId="{42FF804E-5648-4342-A39E-C38A6C181F7D}" dt="2022-07-27T20:29:24.948" v="2002" actId="1076"/>
          <ac:spMkLst>
            <pc:docMk/>
            <pc:sldMk cId="0" sldId="2147471528"/>
            <ac:spMk id="54" creationId="{3283926E-95EE-4E4A-B9DF-3CDB08127369}"/>
          </ac:spMkLst>
        </pc:spChg>
        <pc:spChg chg="mod">
          <ac:chgData name="Zabolotna, Kateryna" userId="724a1d14-7a1d-4ba3-a47b-ab98eba40d1a" providerId="ADAL" clId="{42FF804E-5648-4342-A39E-C38A6C181F7D}" dt="2022-07-27T14:13:42.659" v="1861" actId="1076"/>
          <ac:spMkLst>
            <pc:docMk/>
            <pc:sldMk cId="0" sldId="2147471528"/>
            <ac:spMk id="55" creationId="{EB961EE0-5776-D97B-6C6D-7C2A57A9584F}"/>
          </ac:spMkLst>
        </pc:spChg>
        <pc:spChg chg="mod">
          <ac:chgData name="Zabolotna, Kateryna" userId="724a1d14-7a1d-4ba3-a47b-ab98eba40d1a" providerId="ADAL" clId="{42FF804E-5648-4342-A39E-C38A6C181F7D}" dt="2022-07-27T14:12:00.710" v="1801"/>
          <ac:spMkLst>
            <pc:docMk/>
            <pc:sldMk cId="0" sldId="2147471528"/>
            <ac:spMk id="56" creationId="{CA438012-A22E-593E-F59B-27F7D6A1B66A}"/>
          </ac:spMkLst>
        </pc:spChg>
        <pc:spChg chg="mod">
          <ac:chgData name="Zabolotna, Kateryna" userId="724a1d14-7a1d-4ba3-a47b-ab98eba40d1a" providerId="ADAL" clId="{42FF804E-5648-4342-A39E-C38A6C181F7D}" dt="2022-07-27T14:12:00.710" v="1801"/>
          <ac:spMkLst>
            <pc:docMk/>
            <pc:sldMk cId="0" sldId="2147471528"/>
            <ac:spMk id="57" creationId="{A5794718-0A37-2304-F233-41F0AF939B9E}"/>
          </ac:spMkLst>
        </pc:spChg>
        <pc:spChg chg="mod">
          <ac:chgData name="Zabolotna, Kateryna" userId="724a1d14-7a1d-4ba3-a47b-ab98eba40d1a" providerId="ADAL" clId="{42FF804E-5648-4342-A39E-C38A6C181F7D}" dt="2022-07-27T14:12:09.043" v="1806" actId="20577"/>
          <ac:spMkLst>
            <pc:docMk/>
            <pc:sldMk cId="0" sldId="2147471528"/>
            <ac:spMk id="59" creationId="{12A03E0F-EDDF-7646-4D64-207420E90473}"/>
          </ac:spMkLst>
        </pc:spChg>
        <pc:spChg chg="mod">
          <ac:chgData name="Zabolotna, Kateryna" userId="724a1d14-7a1d-4ba3-a47b-ab98eba40d1a" providerId="ADAL" clId="{42FF804E-5648-4342-A39E-C38A6C181F7D}" dt="2022-07-27T14:12:00.710" v="1801"/>
          <ac:spMkLst>
            <pc:docMk/>
            <pc:sldMk cId="0" sldId="2147471528"/>
            <ac:spMk id="60" creationId="{2D686244-0298-A0FF-EA7A-82D1D74FD92B}"/>
          </ac:spMkLst>
        </pc:spChg>
        <pc:spChg chg="mod">
          <ac:chgData name="Zabolotna, Kateryna" userId="724a1d14-7a1d-4ba3-a47b-ab98eba40d1a" providerId="ADAL" clId="{42FF804E-5648-4342-A39E-C38A6C181F7D}" dt="2022-07-27T20:29:05.611" v="2001" actId="14100"/>
          <ac:spMkLst>
            <pc:docMk/>
            <pc:sldMk cId="0" sldId="2147471528"/>
            <ac:spMk id="66" creationId="{55A4B886-968A-B340-F081-B27E38729818}"/>
          </ac:spMkLst>
        </pc:spChg>
        <pc:spChg chg="mod">
          <ac:chgData name="Zabolotna, Kateryna" userId="724a1d14-7a1d-4ba3-a47b-ab98eba40d1a" providerId="ADAL" clId="{42FF804E-5648-4342-A39E-C38A6C181F7D}" dt="2022-07-27T20:28:27.039" v="1996" actId="404"/>
          <ac:spMkLst>
            <pc:docMk/>
            <pc:sldMk cId="0" sldId="2147471528"/>
            <ac:spMk id="68" creationId="{6EFD5D16-46CC-A8F6-2655-546BA9404EF2}"/>
          </ac:spMkLst>
        </pc:spChg>
        <pc:spChg chg="mod">
          <ac:chgData name="Zabolotna, Kateryna" userId="724a1d14-7a1d-4ba3-a47b-ab98eba40d1a" providerId="ADAL" clId="{42FF804E-5648-4342-A39E-C38A6C181F7D}" dt="2022-07-27T20:28:10.726" v="1993" actId="404"/>
          <ac:spMkLst>
            <pc:docMk/>
            <pc:sldMk cId="0" sldId="2147471528"/>
            <ac:spMk id="71" creationId="{CCCE7BF9-4D50-D1F7-364E-AA2B7CDD6DF2}"/>
          </ac:spMkLst>
        </pc:spChg>
        <pc:spChg chg="mod">
          <ac:chgData name="Zabolotna, Kateryna" userId="724a1d14-7a1d-4ba3-a47b-ab98eba40d1a" providerId="ADAL" clId="{42FF804E-5648-4342-A39E-C38A6C181F7D}" dt="2022-07-27T20:27:59.933" v="1989"/>
          <ac:spMkLst>
            <pc:docMk/>
            <pc:sldMk cId="0" sldId="2147471528"/>
            <ac:spMk id="72" creationId="{9CB66E8F-937E-5E0A-1D3C-EF84EB6C30CB}"/>
          </ac:spMkLst>
        </pc:spChg>
        <pc:grpChg chg="mod">
          <ac:chgData name="Zabolotna, Kateryna" userId="724a1d14-7a1d-4ba3-a47b-ab98eba40d1a" providerId="ADAL" clId="{42FF804E-5648-4342-A39E-C38A6C181F7D}" dt="2022-07-27T14:11:08.097" v="1762" actId="1038"/>
          <ac:grpSpMkLst>
            <pc:docMk/>
            <pc:sldMk cId="0" sldId="2147471528"/>
            <ac:grpSpMk id="2" creationId="{52938F59-4F39-4308-8FE6-F60F0BD23D42}"/>
          </ac:grpSpMkLst>
        </pc:grpChg>
        <pc:grpChg chg="mod">
          <ac:chgData name="Zabolotna, Kateryna" userId="724a1d14-7a1d-4ba3-a47b-ab98eba40d1a" providerId="ADAL" clId="{42FF804E-5648-4342-A39E-C38A6C181F7D}" dt="2022-07-27T14:11:46.587" v="1797" actId="1037"/>
          <ac:grpSpMkLst>
            <pc:docMk/>
            <pc:sldMk cId="0" sldId="2147471528"/>
            <ac:grpSpMk id="3" creationId="{FCE06CD3-219C-47CA-876D-532F0357E25F}"/>
          </ac:grpSpMkLst>
        </pc:grpChg>
        <pc:grpChg chg="mod">
          <ac:chgData name="Zabolotna, Kateryna" userId="724a1d14-7a1d-4ba3-a47b-ab98eba40d1a" providerId="ADAL" clId="{42FF804E-5648-4342-A39E-C38A6C181F7D}" dt="2022-07-27T14:11:46.587" v="1797" actId="1037"/>
          <ac:grpSpMkLst>
            <pc:docMk/>
            <pc:sldMk cId="0" sldId="2147471528"/>
            <ac:grpSpMk id="4" creationId="{2FB317D9-5296-479E-A5B3-7DBEAEC05628}"/>
          </ac:grpSpMkLst>
        </pc:grpChg>
        <pc:grpChg chg="mod">
          <ac:chgData name="Zabolotna, Kateryna" userId="724a1d14-7a1d-4ba3-a47b-ab98eba40d1a" providerId="ADAL" clId="{42FF804E-5648-4342-A39E-C38A6C181F7D}" dt="2022-07-27T14:11:46.587" v="1797" actId="1037"/>
          <ac:grpSpMkLst>
            <pc:docMk/>
            <pc:sldMk cId="0" sldId="2147471528"/>
            <ac:grpSpMk id="5" creationId="{0BA97BAB-88A6-4919-883B-13DD8924F9CE}"/>
          </ac:grpSpMkLst>
        </pc:grpChg>
        <pc:grpChg chg="add del mod">
          <ac:chgData name="Zabolotna, Kateryna" userId="724a1d14-7a1d-4ba3-a47b-ab98eba40d1a" providerId="ADAL" clId="{42FF804E-5648-4342-A39E-C38A6C181F7D}" dt="2022-07-27T14:11:57.450" v="1800" actId="478"/>
          <ac:grpSpMkLst>
            <pc:docMk/>
            <pc:sldMk cId="0" sldId="2147471528"/>
            <ac:grpSpMk id="22" creationId="{B2CADC1D-C85A-8223-677F-7B632A45D97F}"/>
          </ac:grpSpMkLst>
        </pc:grpChg>
        <pc:grpChg chg="mod">
          <ac:chgData name="Zabolotna, Kateryna" userId="724a1d14-7a1d-4ba3-a47b-ab98eba40d1a" providerId="ADAL" clId="{42FF804E-5648-4342-A39E-C38A6C181F7D}" dt="2022-07-27T14:10:50.211" v="1739"/>
          <ac:grpSpMkLst>
            <pc:docMk/>
            <pc:sldMk cId="0" sldId="2147471528"/>
            <ac:grpSpMk id="23" creationId="{344FAF56-799D-4BEE-F08F-0A12C3213495}"/>
          </ac:grpSpMkLst>
        </pc:grpChg>
        <pc:grpChg chg="mod">
          <ac:chgData name="Zabolotna, Kateryna" userId="724a1d14-7a1d-4ba3-a47b-ab98eba40d1a" providerId="ADAL" clId="{42FF804E-5648-4342-A39E-C38A6C181F7D}" dt="2022-07-27T14:10:50.211" v="1739"/>
          <ac:grpSpMkLst>
            <pc:docMk/>
            <pc:sldMk cId="0" sldId="2147471528"/>
            <ac:grpSpMk id="24" creationId="{950C40DE-4A9D-96E0-43F9-7382E0AFB09D}"/>
          </ac:grpSpMkLst>
        </pc:grpChg>
        <pc:grpChg chg="add mod">
          <ac:chgData name="Zabolotna, Kateryna" userId="724a1d14-7a1d-4ba3-a47b-ab98eba40d1a" providerId="ADAL" clId="{42FF804E-5648-4342-A39E-C38A6C181F7D}" dt="2022-07-27T14:12:04.872" v="1802" actId="1076"/>
          <ac:grpSpMkLst>
            <pc:docMk/>
            <pc:sldMk cId="0" sldId="2147471528"/>
            <ac:grpSpMk id="49" creationId="{97F62418-F4D0-4747-7316-6DD19E0328EE}"/>
          </ac:grpSpMkLst>
        </pc:grpChg>
        <pc:grpChg chg="mod">
          <ac:chgData name="Zabolotna, Kateryna" userId="724a1d14-7a1d-4ba3-a47b-ab98eba40d1a" providerId="ADAL" clId="{42FF804E-5648-4342-A39E-C38A6C181F7D}" dt="2022-07-27T14:12:00.710" v="1801"/>
          <ac:grpSpMkLst>
            <pc:docMk/>
            <pc:sldMk cId="0" sldId="2147471528"/>
            <ac:grpSpMk id="50" creationId="{77DB5CC1-63FD-A423-2573-601D484C2785}"/>
          </ac:grpSpMkLst>
        </pc:grpChg>
        <pc:grpChg chg="mod">
          <ac:chgData name="Zabolotna, Kateryna" userId="724a1d14-7a1d-4ba3-a47b-ab98eba40d1a" providerId="ADAL" clId="{42FF804E-5648-4342-A39E-C38A6C181F7D}" dt="2022-07-27T14:12:00.710" v="1801"/>
          <ac:grpSpMkLst>
            <pc:docMk/>
            <pc:sldMk cId="0" sldId="2147471528"/>
            <ac:grpSpMk id="51" creationId="{5F993171-7D48-D1C6-78C1-322410A5B5B1}"/>
          </ac:grpSpMkLst>
        </pc:grpChg>
        <pc:grpChg chg="mod">
          <ac:chgData name="Zabolotna, Kateryna" userId="724a1d14-7a1d-4ba3-a47b-ab98eba40d1a" providerId="ADAL" clId="{42FF804E-5648-4342-A39E-C38A6C181F7D}" dt="2022-07-27T14:12:00.710" v="1801"/>
          <ac:grpSpMkLst>
            <pc:docMk/>
            <pc:sldMk cId="0" sldId="2147471528"/>
            <ac:grpSpMk id="52" creationId="{5904186F-F76E-7724-BAAC-21AFF779FFAE}"/>
          </ac:grpSpMkLst>
        </pc:grpChg>
        <pc:grpChg chg="add mod">
          <ac:chgData name="Zabolotna, Kateryna" userId="724a1d14-7a1d-4ba3-a47b-ab98eba40d1a" providerId="ADAL" clId="{42FF804E-5648-4342-A39E-C38A6C181F7D}" dt="2022-07-27T20:28:39.427" v="1997" actId="1076"/>
          <ac:grpSpMkLst>
            <pc:docMk/>
            <pc:sldMk cId="0" sldId="2147471528"/>
            <ac:grpSpMk id="61" creationId="{8704CAC3-1FDB-5543-33EB-E9C01402F1C2}"/>
          </ac:grpSpMkLst>
        </pc:grpChg>
        <pc:grpChg chg="mod">
          <ac:chgData name="Zabolotna, Kateryna" userId="724a1d14-7a1d-4ba3-a47b-ab98eba40d1a" providerId="ADAL" clId="{42FF804E-5648-4342-A39E-C38A6C181F7D}" dt="2022-07-27T20:27:59.933" v="1989"/>
          <ac:grpSpMkLst>
            <pc:docMk/>
            <pc:sldMk cId="0" sldId="2147471528"/>
            <ac:grpSpMk id="62" creationId="{3849757A-2F32-B21A-3434-DD57AED55507}"/>
          </ac:grpSpMkLst>
        </pc:grpChg>
        <pc:grpChg chg="mod">
          <ac:chgData name="Zabolotna, Kateryna" userId="724a1d14-7a1d-4ba3-a47b-ab98eba40d1a" providerId="ADAL" clId="{42FF804E-5648-4342-A39E-C38A6C181F7D}" dt="2022-07-27T20:27:59.933" v="1989"/>
          <ac:grpSpMkLst>
            <pc:docMk/>
            <pc:sldMk cId="0" sldId="2147471528"/>
            <ac:grpSpMk id="63" creationId="{F378C15D-41DD-7894-4236-B74C5CC7A93B}"/>
          </ac:grpSpMkLst>
        </pc:grpChg>
        <pc:grpChg chg="mod">
          <ac:chgData name="Zabolotna, Kateryna" userId="724a1d14-7a1d-4ba3-a47b-ab98eba40d1a" providerId="ADAL" clId="{42FF804E-5648-4342-A39E-C38A6C181F7D}" dt="2022-07-27T20:27:59.933" v="1989"/>
          <ac:grpSpMkLst>
            <pc:docMk/>
            <pc:sldMk cId="0" sldId="2147471528"/>
            <ac:grpSpMk id="64" creationId="{E9882BB2-A27A-789A-D272-77CFE4F90212}"/>
          </ac:grpSpMkLst>
        </pc:grpChg>
        <pc:grpChg chg="mod">
          <ac:chgData name="Zabolotna, Kateryna" userId="724a1d14-7a1d-4ba3-a47b-ab98eba40d1a" providerId="ADAL" clId="{42FF804E-5648-4342-A39E-C38A6C181F7D}" dt="2022-07-27T20:27:59.933" v="1989"/>
          <ac:grpSpMkLst>
            <pc:docMk/>
            <pc:sldMk cId="0" sldId="2147471528"/>
            <ac:grpSpMk id="67" creationId="{DC6020EA-33D6-BAE2-17E2-AA0D133BD4B0}"/>
          </ac:grpSpMkLst>
        </pc:grpChg>
        <pc:grpChg chg="mod">
          <ac:chgData name="Zabolotna, Kateryna" userId="724a1d14-7a1d-4ba3-a47b-ab98eba40d1a" providerId="ADAL" clId="{42FF804E-5648-4342-A39E-C38A6C181F7D}" dt="2022-07-27T20:27:59.933" v="1989"/>
          <ac:grpSpMkLst>
            <pc:docMk/>
            <pc:sldMk cId="0" sldId="2147471528"/>
            <ac:grpSpMk id="70" creationId="{4681698B-050A-D3AE-5645-A3F9F828A19A}"/>
          </ac:grpSpMkLst>
        </pc:grpChg>
        <pc:picChg chg="mod">
          <ac:chgData name="Zabolotna, Kateryna" userId="724a1d14-7a1d-4ba3-a47b-ab98eba40d1a" providerId="ADAL" clId="{42FF804E-5648-4342-A39E-C38A6C181F7D}" dt="2022-07-27T14:11:54.883" v="1799" actId="108"/>
          <ac:picMkLst>
            <pc:docMk/>
            <pc:sldMk cId="0" sldId="2147471528"/>
            <ac:picMk id="40" creationId="{0229A037-1D1D-2C9E-3F7B-D5D71B5880EC}"/>
          </ac:picMkLst>
        </pc:picChg>
        <pc:picChg chg="mod">
          <ac:chgData name="Zabolotna, Kateryna" userId="724a1d14-7a1d-4ba3-a47b-ab98eba40d1a" providerId="ADAL" clId="{42FF804E-5648-4342-A39E-C38A6C181F7D}" dt="2022-07-27T14:12:00.710" v="1801"/>
          <ac:picMkLst>
            <pc:docMk/>
            <pc:sldMk cId="0" sldId="2147471528"/>
            <ac:picMk id="58" creationId="{451338BF-AA07-193F-66A0-9076F5FE999C}"/>
          </ac:picMkLst>
        </pc:picChg>
        <pc:picChg chg="mod">
          <ac:chgData name="Zabolotna, Kateryna" userId="724a1d14-7a1d-4ba3-a47b-ab98eba40d1a" providerId="ADAL" clId="{42FF804E-5648-4342-A39E-C38A6C181F7D}" dt="2022-07-27T20:28:52.915" v="1999" actId="1076"/>
          <ac:picMkLst>
            <pc:docMk/>
            <pc:sldMk cId="0" sldId="2147471528"/>
            <ac:picMk id="65" creationId="{FDEBAB94-C764-F125-770B-94DE71DAAF94}"/>
          </ac:picMkLst>
        </pc:picChg>
      </pc:sldChg>
      <pc:sldChg chg="addSp delSp modSp new mod ord">
        <pc:chgData name="Zabolotna, Kateryna" userId="724a1d14-7a1d-4ba3-a47b-ab98eba40d1a" providerId="ADAL" clId="{42FF804E-5648-4342-A39E-C38A6C181F7D}" dt="2022-07-28T07:45:45.045" v="3109" actId="478"/>
        <pc:sldMkLst>
          <pc:docMk/>
          <pc:sldMk cId="2357741314" sldId="2147471529"/>
        </pc:sldMkLst>
        <pc:spChg chg="add del mod">
          <ac:chgData name="Zabolotna, Kateryna" userId="724a1d14-7a1d-4ba3-a47b-ab98eba40d1a" providerId="ADAL" clId="{42FF804E-5648-4342-A39E-C38A6C181F7D}" dt="2022-07-28T07:45:45.045" v="3109" actId="478"/>
          <ac:spMkLst>
            <pc:docMk/>
            <pc:sldMk cId="2357741314" sldId="2147471529"/>
            <ac:spMk id="3" creationId="{050FE8AA-B2C3-ADC8-D9E8-C7B8350A23E3}"/>
          </ac:spMkLst>
        </pc:spChg>
      </pc:sldChg>
      <pc:sldChg chg="modSp add mod">
        <pc:chgData name="Zabolotna, Kateryna" userId="724a1d14-7a1d-4ba3-a47b-ab98eba40d1a" providerId="ADAL" clId="{42FF804E-5648-4342-A39E-C38A6C181F7D}" dt="2022-08-05T09:03:09.523" v="3351" actId="20577"/>
        <pc:sldMkLst>
          <pc:docMk/>
          <pc:sldMk cId="1616741894" sldId="2147471530"/>
        </pc:sldMkLst>
        <pc:spChg chg="mod">
          <ac:chgData name="Zabolotna, Kateryna" userId="724a1d14-7a1d-4ba3-a47b-ab98eba40d1a" providerId="ADAL" clId="{42FF804E-5648-4342-A39E-C38A6C181F7D}" dt="2022-08-05T09:03:09.523" v="3351" actId="20577"/>
          <ac:spMkLst>
            <pc:docMk/>
            <pc:sldMk cId="1616741894" sldId="2147471530"/>
            <ac:spMk id="8" creationId="{CAEF6CBD-A178-6D46-8BBB-52790870B985}"/>
          </ac:spMkLst>
        </pc:spChg>
      </pc:sldChg>
      <pc:sldChg chg="modSp add del mod">
        <pc:chgData name="Zabolotna, Kateryna" userId="724a1d14-7a1d-4ba3-a47b-ab98eba40d1a" providerId="ADAL" clId="{42FF804E-5648-4342-A39E-C38A6C181F7D}" dt="2022-07-27T13:42:53.934" v="1606" actId="2696"/>
        <pc:sldMkLst>
          <pc:docMk/>
          <pc:sldMk cId="1995207693" sldId="2147471531"/>
        </pc:sldMkLst>
        <pc:spChg chg="mod">
          <ac:chgData name="Zabolotna, Kateryna" userId="724a1d14-7a1d-4ba3-a47b-ab98eba40d1a" providerId="ADAL" clId="{42FF804E-5648-4342-A39E-C38A6C181F7D}" dt="2022-07-27T13:03:20.231" v="1416" actId="20577"/>
          <ac:spMkLst>
            <pc:docMk/>
            <pc:sldMk cId="1995207693" sldId="2147471531"/>
            <ac:spMk id="8" creationId="{CAEF6CBD-A178-6D46-8BBB-52790870B985}"/>
          </ac:spMkLst>
        </pc:spChg>
      </pc:sldChg>
      <pc:sldChg chg="modSp add mod">
        <pc:chgData name="Zabolotna, Kateryna" userId="724a1d14-7a1d-4ba3-a47b-ab98eba40d1a" providerId="ADAL" clId="{42FF804E-5648-4342-A39E-C38A6C181F7D}" dt="2022-08-05T14:05:26.520" v="4518" actId="20577"/>
        <pc:sldMkLst>
          <pc:docMk/>
          <pc:sldMk cId="2195262775" sldId="2147471531"/>
        </pc:sldMkLst>
        <pc:spChg chg="mod">
          <ac:chgData name="Zabolotna, Kateryna" userId="724a1d14-7a1d-4ba3-a47b-ab98eba40d1a" providerId="ADAL" clId="{42FF804E-5648-4342-A39E-C38A6C181F7D}" dt="2022-08-05T14:05:26.520" v="4518" actId="20577"/>
          <ac:spMkLst>
            <pc:docMk/>
            <pc:sldMk cId="2195262775" sldId="2147471531"/>
            <ac:spMk id="8" creationId="{CAEF6CBD-A178-6D46-8BBB-52790870B985}"/>
          </ac:spMkLst>
        </pc:spChg>
      </pc:sldChg>
      <pc:sldChg chg="modSp add mod">
        <pc:chgData name="Zabolotna, Kateryna" userId="724a1d14-7a1d-4ba3-a47b-ab98eba40d1a" providerId="ADAL" clId="{42FF804E-5648-4342-A39E-C38A6C181F7D}" dt="2022-08-05T09:03:02.061" v="3350" actId="20577"/>
        <pc:sldMkLst>
          <pc:docMk/>
          <pc:sldMk cId="297455234" sldId="2147471532"/>
        </pc:sldMkLst>
        <pc:spChg chg="mod">
          <ac:chgData name="Zabolotna, Kateryna" userId="724a1d14-7a1d-4ba3-a47b-ab98eba40d1a" providerId="ADAL" clId="{42FF804E-5648-4342-A39E-C38A6C181F7D}" dt="2022-08-05T09:03:02.061" v="3350" actId="20577"/>
          <ac:spMkLst>
            <pc:docMk/>
            <pc:sldMk cId="297455234" sldId="2147471532"/>
            <ac:spMk id="8" creationId="{CAEF6CBD-A178-6D46-8BBB-52790870B985}"/>
          </ac:spMkLst>
        </pc:spChg>
      </pc:sldChg>
      <pc:sldChg chg="modSp add del mod modTransition">
        <pc:chgData name="Zabolotna, Kateryna" userId="724a1d14-7a1d-4ba3-a47b-ab98eba40d1a" providerId="ADAL" clId="{42FF804E-5648-4342-A39E-C38A6C181F7D}" dt="2022-07-27T13:42:53.934" v="1606" actId="2696"/>
        <pc:sldMkLst>
          <pc:docMk/>
          <pc:sldMk cId="668922522" sldId="2147471533"/>
        </pc:sldMkLst>
        <pc:spChg chg="mod">
          <ac:chgData name="Zabolotna, Kateryna" userId="724a1d14-7a1d-4ba3-a47b-ab98eba40d1a" providerId="ADAL" clId="{42FF804E-5648-4342-A39E-C38A6C181F7D}" dt="2022-07-27T13:35:44.935" v="1548" actId="20577"/>
          <ac:spMkLst>
            <pc:docMk/>
            <pc:sldMk cId="668922522" sldId="2147471533"/>
            <ac:spMk id="14" creationId="{4748CB45-2229-4391-BC44-375CE648858A}"/>
          </ac:spMkLst>
        </pc:spChg>
        <pc:spChg chg="mod">
          <ac:chgData name="Zabolotna, Kateryna" userId="724a1d14-7a1d-4ba3-a47b-ab98eba40d1a" providerId="ADAL" clId="{42FF804E-5648-4342-A39E-C38A6C181F7D}" dt="2022-07-27T13:35:49.270" v="1549" actId="1076"/>
          <ac:spMkLst>
            <pc:docMk/>
            <pc:sldMk cId="668922522" sldId="2147471533"/>
            <ac:spMk id="54" creationId="{41441376-BFAF-FF9E-5055-0C4613F861E6}"/>
          </ac:spMkLst>
        </pc:spChg>
      </pc:sldChg>
      <pc:sldChg chg="modSp add mod ord modShow">
        <pc:chgData name="Zabolotna, Kateryna" userId="724a1d14-7a1d-4ba3-a47b-ab98eba40d1a" providerId="ADAL" clId="{42FF804E-5648-4342-A39E-C38A6C181F7D}" dt="2022-08-05T09:30:40.294" v="3613" actId="20578"/>
        <pc:sldMkLst>
          <pc:docMk/>
          <pc:sldMk cId="3258130833" sldId="2147471533"/>
        </pc:sldMkLst>
        <pc:spChg chg="mod">
          <ac:chgData name="Zabolotna, Kateryna" userId="724a1d14-7a1d-4ba3-a47b-ab98eba40d1a" providerId="ADAL" clId="{42FF804E-5648-4342-A39E-C38A6C181F7D}" dt="2022-07-28T08:12:33.923" v="3314" actId="20577"/>
          <ac:spMkLst>
            <pc:docMk/>
            <pc:sldMk cId="3258130833" sldId="2147471533"/>
            <ac:spMk id="14" creationId="{4748CB45-2229-4391-BC44-375CE648858A}"/>
          </ac:spMkLst>
        </pc:spChg>
      </pc:sldChg>
      <pc:sldChg chg="modSp add del mod ord modShow">
        <pc:chgData name="Zabolotna, Kateryna" userId="724a1d14-7a1d-4ba3-a47b-ab98eba40d1a" providerId="ADAL" clId="{42FF804E-5648-4342-A39E-C38A6C181F7D}" dt="2022-08-05T10:21:39.234" v="4223" actId="2696"/>
        <pc:sldMkLst>
          <pc:docMk/>
          <pc:sldMk cId="1993226371" sldId="2147471534"/>
        </pc:sldMkLst>
        <pc:spChg chg="mod">
          <ac:chgData name="Zabolotna, Kateryna" userId="724a1d14-7a1d-4ba3-a47b-ab98eba40d1a" providerId="ADAL" clId="{42FF804E-5648-4342-A39E-C38A6C181F7D}" dt="2022-07-27T13:43:55.642" v="1683" actId="20577"/>
          <ac:spMkLst>
            <pc:docMk/>
            <pc:sldMk cId="1993226371" sldId="2147471534"/>
            <ac:spMk id="80" creationId="{26ABFD33-E6D0-8440-B048-A5F9A3BBEA51}"/>
          </ac:spMkLst>
        </pc:spChg>
      </pc:sldChg>
      <pc:sldChg chg="add del">
        <pc:chgData name="Zabolotna, Kateryna" userId="724a1d14-7a1d-4ba3-a47b-ab98eba40d1a" providerId="ADAL" clId="{42FF804E-5648-4342-A39E-C38A6C181F7D}" dt="2022-07-27T13:42:53.934" v="1606" actId="2696"/>
        <pc:sldMkLst>
          <pc:docMk/>
          <pc:sldMk cId="2351784287" sldId="2147471534"/>
        </pc:sldMkLst>
      </pc:sldChg>
      <pc:sldChg chg="addSp delSp modSp add del mod">
        <pc:chgData name="Zabolotna, Kateryna" userId="724a1d14-7a1d-4ba3-a47b-ab98eba40d1a" providerId="ADAL" clId="{42FF804E-5648-4342-A39E-C38A6C181F7D}" dt="2022-08-05T10:02:29.993" v="3621" actId="2696"/>
        <pc:sldMkLst>
          <pc:docMk/>
          <pc:sldMk cId="298934338" sldId="2147471535"/>
        </pc:sldMkLst>
        <pc:spChg chg="mod">
          <ac:chgData name="Zabolotna, Kateryna" userId="724a1d14-7a1d-4ba3-a47b-ab98eba40d1a" providerId="ADAL" clId="{42FF804E-5648-4342-A39E-C38A6C181F7D}" dt="2022-08-05T10:02:27.711" v="3620" actId="20577"/>
          <ac:spMkLst>
            <pc:docMk/>
            <pc:sldMk cId="298934338" sldId="2147471535"/>
            <ac:spMk id="2" creationId="{EA080514-616F-8682-C498-8AC4F7391BC2}"/>
          </ac:spMkLst>
        </pc:spChg>
        <pc:spChg chg="mod">
          <ac:chgData name="Zabolotna, Kateryna" userId="724a1d14-7a1d-4ba3-a47b-ab98eba40d1a" providerId="ADAL" clId="{42FF804E-5648-4342-A39E-C38A6C181F7D}" dt="2022-08-05T09:29:39.914" v="3610"/>
          <ac:spMkLst>
            <pc:docMk/>
            <pc:sldMk cId="298934338" sldId="2147471535"/>
            <ac:spMk id="8" creationId="{60996E9F-E46A-3D49-BF10-B7A7D6CE6E09}"/>
          </ac:spMkLst>
        </pc:spChg>
        <pc:spChg chg="mod">
          <ac:chgData name="Zabolotna, Kateryna" userId="724a1d14-7a1d-4ba3-a47b-ab98eba40d1a" providerId="ADAL" clId="{42FF804E-5648-4342-A39E-C38A6C181F7D}" dt="2022-08-05T09:29:39.914" v="3610"/>
          <ac:spMkLst>
            <pc:docMk/>
            <pc:sldMk cId="298934338" sldId="2147471535"/>
            <ac:spMk id="10" creationId="{998F159D-2BAF-B60F-F3CA-12477D257BCB}"/>
          </ac:spMkLst>
        </pc:spChg>
        <pc:spChg chg="mod">
          <ac:chgData name="Zabolotna, Kateryna" userId="724a1d14-7a1d-4ba3-a47b-ab98eba40d1a" providerId="ADAL" clId="{42FF804E-5648-4342-A39E-C38A6C181F7D}" dt="2022-08-05T09:29:39.914" v="3610"/>
          <ac:spMkLst>
            <pc:docMk/>
            <pc:sldMk cId="298934338" sldId="2147471535"/>
            <ac:spMk id="12" creationId="{664C8223-A58A-43FC-15B0-EFEE1AD507B0}"/>
          </ac:spMkLst>
        </pc:spChg>
        <pc:spChg chg="mod">
          <ac:chgData name="Zabolotna, Kateryna" userId="724a1d14-7a1d-4ba3-a47b-ab98eba40d1a" providerId="ADAL" clId="{42FF804E-5648-4342-A39E-C38A6C181F7D}" dt="2022-08-05T09:29:39.914" v="3610"/>
          <ac:spMkLst>
            <pc:docMk/>
            <pc:sldMk cId="298934338" sldId="2147471535"/>
            <ac:spMk id="13" creationId="{7A7C0F88-0411-F642-B9FE-DC11476BF94D}"/>
          </ac:spMkLst>
        </pc:spChg>
        <pc:spChg chg="mod">
          <ac:chgData name="Zabolotna, Kateryna" userId="724a1d14-7a1d-4ba3-a47b-ab98eba40d1a" providerId="ADAL" clId="{42FF804E-5648-4342-A39E-C38A6C181F7D}" dt="2022-08-05T10:01:57.392" v="3615"/>
          <ac:spMkLst>
            <pc:docMk/>
            <pc:sldMk cId="298934338" sldId="2147471535"/>
            <ac:spMk id="16" creationId="{85892A42-BFFD-FF7B-D617-031ECB6DE1A7}"/>
          </ac:spMkLst>
        </pc:spChg>
        <pc:spChg chg="mod">
          <ac:chgData name="Zabolotna, Kateryna" userId="724a1d14-7a1d-4ba3-a47b-ab98eba40d1a" providerId="ADAL" clId="{42FF804E-5648-4342-A39E-C38A6C181F7D}" dt="2022-08-05T10:01:57.392" v="3615"/>
          <ac:spMkLst>
            <pc:docMk/>
            <pc:sldMk cId="298934338" sldId="2147471535"/>
            <ac:spMk id="20" creationId="{668B24E4-F5D1-4D1B-672A-CA7413835684}"/>
          </ac:spMkLst>
        </pc:spChg>
        <pc:spChg chg="mod">
          <ac:chgData name="Zabolotna, Kateryna" userId="724a1d14-7a1d-4ba3-a47b-ab98eba40d1a" providerId="ADAL" clId="{42FF804E-5648-4342-A39E-C38A6C181F7D}" dt="2022-08-05T10:01:57.392" v="3615"/>
          <ac:spMkLst>
            <pc:docMk/>
            <pc:sldMk cId="298934338" sldId="2147471535"/>
            <ac:spMk id="22" creationId="{C69859CA-F992-E0CF-AD55-4F396A694805}"/>
          </ac:spMkLst>
        </pc:spChg>
        <pc:spChg chg="mod">
          <ac:chgData name="Zabolotna, Kateryna" userId="724a1d14-7a1d-4ba3-a47b-ab98eba40d1a" providerId="ADAL" clId="{42FF804E-5648-4342-A39E-C38A6C181F7D}" dt="2022-08-05T10:01:57.392" v="3615"/>
          <ac:spMkLst>
            <pc:docMk/>
            <pc:sldMk cId="298934338" sldId="2147471535"/>
            <ac:spMk id="23" creationId="{7743827A-3A3D-90CD-2518-DEB76E414EBA}"/>
          </ac:spMkLst>
        </pc:spChg>
        <pc:spChg chg="mod">
          <ac:chgData name="Zabolotna, Kateryna" userId="724a1d14-7a1d-4ba3-a47b-ab98eba40d1a" providerId="ADAL" clId="{42FF804E-5648-4342-A39E-C38A6C181F7D}" dt="2022-08-05T10:02:14.545" v="3617"/>
          <ac:spMkLst>
            <pc:docMk/>
            <pc:sldMk cId="298934338" sldId="2147471535"/>
            <ac:spMk id="26" creationId="{528E4B2F-5DBB-DB61-56FC-D1D9C0AA3D5C}"/>
          </ac:spMkLst>
        </pc:spChg>
        <pc:spChg chg="mod">
          <ac:chgData name="Zabolotna, Kateryna" userId="724a1d14-7a1d-4ba3-a47b-ab98eba40d1a" providerId="ADAL" clId="{42FF804E-5648-4342-A39E-C38A6C181F7D}" dt="2022-08-05T10:02:14.545" v="3617"/>
          <ac:spMkLst>
            <pc:docMk/>
            <pc:sldMk cId="298934338" sldId="2147471535"/>
            <ac:spMk id="30" creationId="{29B19D02-A336-0274-626C-14911C743F52}"/>
          </ac:spMkLst>
        </pc:spChg>
        <pc:spChg chg="mod">
          <ac:chgData name="Zabolotna, Kateryna" userId="724a1d14-7a1d-4ba3-a47b-ab98eba40d1a" providerId="ADAL" clId="{42FF804E-5648-4342-A39E-C38A6C181F7D}" dt="2022-08-05T10:02:14.545" v="3617"/>
          <ac:spMkLst>
            <pc:docMk/>
            <pc:sldMk cId="298934338" sldId="2147471535"/>
            <ac:spMk id="32" creationId="{4DE43248-17B8-A14F-33EA-553F878F4F96}"/>
          </ac:spMkLst>
        </pc:spChg>
        <pc:spChg chg="mod">
          <ac:chgData name="Zabolotna, Kateryna" userId="724a1d14-7a1d-4ba3-a47b-ab98eba40d1a" providerId="ADAL" clId="{42FF804E-5648-4342-A39E-C38A6C181F7D}" dt="2022-08-05T10:02:14.545" v="3617"/>
          <ac:spMkLst>
            <pc:docMk/>
            <pc:sldMk cId="298934338" sldId="2147471535"/>
            <ac:spMk id="33" creationId="{D7A2C86E-20C6-4F9C-FACD-C0A9136F9299}"/>
          </ac:spMkLst>
        </pc:spChg>
        <pc:grpChg chg="add mod">
          <ac:chgData name="Zabolotna, Kateryna" userId="724a1d14-7a1d-4ba3-a47b-ab98eba40d1a" providerId="ADAL" clId="{42FF804E-5648-4342-A39E-C38A6C181F7D}" dt="2022-08-05T09:29:43.320" v="3611" actId="1076"/>
          <ac:grpSpMkLst>
            <pc:docMk/>
            <pc:sldMk cId="298934338" sldId="2147471535"/>
            <ac:grpSpMk id="3" creationId="{D2A00D2A-80BC-A4EC-AF75-107E1CBA17F0}"/>
          </ac:grpSpMkLst>
        </pc:grpChg>
        <pc:grpChg chg="mod">
          <ac:chgData name="Zabolotna, Kateryna" userId="724a1d14-7a1d-4ba3-a47b-ab98eba40d1a" providerId="ADAL" clId="{42FF804E-5648-4342-A39E-C38A6C181F7D}" dt="2022-08-05T09:29:39.914" v="3610"/>
          <ac:grpSpMkLst>
            <pc:docMk/>
            <pc:sldMk cId="298934338" sldId="2147471535"/>
            <ac:grpSpMk id="4" creationId="{A43D3DA3-9D95-F4D2-B11A-3B231BC0CBED}"/>
          </ac:grpSpMkLst>
        </pc:grpChg>
        <pc:grpChg chg="mod">
          <ac:chgData name="Zabolotna, Kateryna" userId="724a1d14-7a1d-4ba3-a47b-ab98eba40d1a" providerId="ADAL" clId="{42FF804E-5648-4342-A39E-C38A6C181F7D}" dt="2022-08-05T09:29:39.914" v="3610"/>
          <ac:grpSpMkLst>
            <pc:docMk/>
            <pc:sldMk cId="298934338" sldId="2147471535"/>
            <ac:grpSpMk id="5" creationId="{24865E65-9059-1591-6F4B-65D2302A6501}"/>
          </ac:grpSpMkLst>
        </pc:grpChg>
        <pc:grpChg chg="mod">
          <ac:chgData name="Zabolotna, Kateryna" userId="724a1d14-7a1d-4ba3-a47b-ab98eba40d1a" providerId="ADAL" clId="{42FF804E-5648-4342-A39E-C38A6C181F7D}" dt="2022-08-05T09:29:39.914" v="3610"/>
          <ac:grpSpMkLst>
            <pc:docMk/>
            <pc:sldMk cId="298934338" sldId="2147471535"/>
            <ac:grpSpMk id="6" creationId="{F31E58E3-4E92-1E18-66F5-C48ECEB4FC47}"/>
          </ac:grpSpMkLst>
        </pc:grpChg>
        <pc:grpChg chg="mod">
          <ac:chgData name="Zabolotna, Kateryna" userId="724a1d14-7a1d-4ba3-a47b-ab98eba40d1a" providerId="ADAL" clId="{42FF804E-5648-4342-A39E-C38A6C181F7D}" dt="2022-08-05T09:29:39.914" v="3610"/>
          <ac:grpSpMkLst>
            <pc:docMk/>
            <pc:sldMk cId="298934338" sldId="2147471535"/>
            <ac:grpSpMk id="9" creationId="{1F52A379-AC5B-20D3-5A01-824127003796}"/>
          </ac:grpSpMkLst>
        </pc:grpChg>
        <pc:grpChg chg="mod">
          <ac:chgData name="Zabolotna, Kateryna" userId="724a1d14-7a1d-4ba3-a47b-ab98eba40d1a" providerId="ADAL" clId="{42FF804E-5648-4342-A39E-C38A6C181F7D}" dt="2022-08-05T09:29:39.914" v="3610"/>
          <ac:grpSpMkLst>
            <pc:docMk/>
            <pc:sldMk cId="298934338" sldId="2147471535"/>
            <ac:grpSpMk id="11" creationId="{2B80301C-504E-0E2C-6FED-8E10F84C7419}"/>
          </ac:grpSpMkLst>
        </pc:grpChg>
        <pc:grpChg chg="add mod">
          <ac:chgData name="Zabolotna, Kateryna" userId="724a1d14-7a1d-4ba3-a47b-ab98eba40d1a" providerId="ADAL" clId="{42FF804E-5648-4342-A39E-C38A6C181F7D}" dt="2022-08-05T10:02:02.159" v="3616" actId="1076"/>
          <ac:grpSpMkLst>
            <pc:docMk/>
            <pc:sldMk cId="298934338" sldId="2147471535"/>
            <ac:grpSpMk id="14" creationId="{110C3DA4-2B8D-36A0-CF99-CC501C6B66EF}"/>
          </ac:grpSpMkLst>
        </pc:grpChg>
        <pc:grpChg chg="mod">
          <ac:chgData name="Zabolotna, Kateryna" userId="724a1d14-7a1d-4ba3-a47b-ab98eba40d1a" providerId="ADAL" clId="{42FF804E-5648-4342-A39E-C38A6C181F7D}" dt="2022-08-05T10:01:57.392" v="3615"/>
          <ac:grpSpMkLst>
            <pc:docMk/>
            <pc:sldMk cId="298934338" sldId="2147471535"/>
            <ac:grpSpMk id="15" creationId="{3954C7D4-E5B0-240B-52BC-DD8C59127A79}"/>
          </ac:grpSpMkLst>
        </pc:grpChg>
        <pc:grpChg chg="mod">
          <ac:chgData name="Zabolotna, Kateryna" userId="724a1d14-7a1d-4ba3-a47b-ab98eba40d1a" providerId="ADAL" clId="{42FF804E-5648-4342-A39E-C38A6C181F7D}" dt="2022-08-05T10:01:57.392" v="3615"/>
          <ac:grpSpMkLst>
            <pc:docMk/>
            <pc:sldMk cId="298934338" sldId="2147471535"/>
            <ac:grpSpMk id="17" creationId="{94DB156D-146E-EBA6-578B-757A55DC3486}"/>
          </ac:grpSpMkLst>
        </pc:grpChg>
        <pc:grpChg chg="mod">
          <ac:chgData name="Zabolotna, Kateryna" userId="724a1d14-7a1d-4ba3-a47b-ab98eba40d1a" providerId="ADAL" clId="{42FF804E-5648-4342-A39E-C38A6C181F7D}" dt="2022-08-05T10:01:57.392" v="3615"/>
          <ac:grpSpMkLst>
            <pc:docMk/>
            <pc:sldMk cId="298934338" sldId="2147471535"/>
            <ac:grpSpMk id="18" creationId="{795D5056-B653-F129-B83A-CCB736107554}"/>
          </ac:grpSpMkLst>
        </pc:grpChg>
        <pc:grpChg chg="mod">
          <ac:chgData name="Zabolotna, Kateryna" userId="724a1d14-7a1d-4ba3-a47b-ab98eba40d1a" providerId="ADAL" clId="{42FF804E-5648-4342-A39E-C38A6C181F7D}" dt="2022-08-05T10:01:57.392" v="3615"/>
          <ac:grpSpMkLst>
            <pc:docMk/>
            <pc:sldMk cId="298934338" sldId="2147471535"/>
            <ac:grpSpMk id="21" creationId="{F0FC60AE-4DA9-2082-204E-3BB9A093E45F}"/>
          </ac:grpSpMkLst>
        </pc:grpChg>
        <pc:grpChg chg="add del mod">
          <ac:chgData name="Zabolotna, Kateryna" userId="724a1d14-7a1d-4ba3-a47b-ab98eba40d1a" providerId="ADAL" clId="{42FF804E-5648-4342-A39E-C38A6C181F7D}" dt="2022-08-05T10:02:18.065" v="3618"/>
          <ac:grpSpMkLst>
            <pc:docMk/>
            <pc:sldMk cId="298934338" sldId="2147471535"/>
            <ac:grpSpMk id="24" creationId="{C5348D3B-DC1A-0E6A-629E-CC9394BA0731}"/>
          </ac:grpSpMkLst>
        </pc:grpChg>
        <pc:grpChg chg="mod">
          <ac:chgData name="Zabolotna, Kateryna" userId="724a1d14-7a1d-4ba3-a47b-ab98eba40d1a" providerId="ADAL" clId="{42FF804E-5648-4342-A39E-C38A6C181F7D}" dt="2022-08-05T10:02:14.545" v="3617"/>
          <ac:grpSpMkLst>
            <pc:docMk/>
            <pc:sldMk cId="298934338" sldId="2147471535"/>
            <ac:grpSpMk id="25" creationId="{A400E4AC-4020-5B07-5BA0-53EA785AE35B}"/>
          </ac:grpSpMkLst>
        </pc:grpChg>
        <pc:grpChg chg="mod">
          <ac:chgData name="Zabolotna, Kateryna" userId="724a1d14-7a1d-4ba3-a47b-ab98eba40d1a" providerId="ADAL" clId="{42FF804E-5648-4342-A39E-C38A6C181F7D}" dt="2022-08-05T10:02:14.545" v="3617"/>
          <ac:grpSpMkLst>
            <pc:docMk/>
            <pc:sldMk cId="298934338" sldId="2147471535"/>
            <ac:grpSpMk id="27" creationId="{B3C8D995-0C72-F3DF-5582-43F3C53E8734}"/>
          </ac:grpSpMkLst>
        </pc:grpChg>
        <pc:grpChg chg="mod">
          <ac:chgData name="Zabolotna, Kateryna" userId="724a1d14-7a1d-4ba3-a47b-ab98eba40d1a" providerId="ADAL" clId="{42FF804E-5648-4342-A39E-C38A6C181F7D}" dt="2022-08-05T10:02:14.545" v="3617"/>
          <ac:grpSpMkLst>
            <pc:docMk/>
            <pc:sldMk cId="298934338" sldId="2147471535"/>
            <ac:grpSpMk id="28" creationId="{7721CF77-D870-CEF0-9D69-4572F3D6E8FA}"/>
          </ac:grpSpMkLst>
        </pc:grpChg>
        <pc:grpChg chg="mod">
          <ac:chgData name="Zabolotna, Kateryna" userId="724a1d14-7a1d-4ba3-a47b-ab98eba40d1a" providerId="ADAL" clId="{42FF804E-5648-4342-A39E-C38A6C181F7D}" dt="2022-08-05T10:02:14.545" v="3617"/>
          <ac:grpSpMkLst>
            <pc:docMk/>
            <pc:sldMk cId="298934338" sldId="2147471535"/>
            <ac:grpSpMk id="31" creationId="{952FA886-10CA-4661-1355-47BC810C328F}"/>
          </ac:grpSpMkLst>
        </pc:grpChg>
        <pc:picChg chg="mod">
          <ac:chgData name="Zabolotna, Kateryna" userId="724a1d14-7a1d-4ba3-a47b-ab98eba40d1a" providerId="ADAL" clId="{42FF804E-5648-4342-A39E-C38A6C181F7D}" dt="2022-08-05T09:29:39.914" v="3610"/>
          <ac:picMkLst>
            <pc:docMk/>
            <pc:sldMk cId="298934338" sldId="2147471535"/>
            <ac:picMk id="7" creationId="{5356F301-E495-ED07-7245-D3FDC6B864CC}"/>
          </ac:picMkLst>
        </pc:picChg>
        <pc:picChg chg="mod">
          <ac:chgData name="Zabolotna, Kateryna" userId="724a1d14-7a1d-4ba3-a47b-ab98eba40d1a" providerId="ADAL" clId="{42FF804E-5648-4342-A39E-C38A6C181F7D}" dt="2022-08-05T10:01:57.392" v="3615"/>
          <ac:picMkLst>
            <pc:docMk/>
            <pc:sldMk cId="298934338" sldId="2147471535"/>
            <ac:picMk id="19" creationId="{FC8D581D-EBF7-C2EB-FE27-EAA6368B5007}"/>
          </ac:picMkLst>
        </pc:picChg>
        <pc:picChg chg="mod">
          <ac:chgData name="Zabolotna, Kateryna" userId="724a1d14-7a1d-4ba3-a47b-ab98eba40d1a" providerId="ADAL" clId="{42FF804E-5648-4342-A39E-C38A6C181F7D}" dt="2022-08-05T10:02:14.545" v="3617"/>
          <ac:picMkLst>
            <pc:docMk/>
            <pc:sldMk cId="298934338" sldId="2147471535"/>
            <ac:picMk id="29" creationId="{503ED2B6-4F54-5F6D-BC46-36E0F93E6632}"/>
          </ac:picMkLst>
        </pc:picChg>
      </pc:sldChg>
      <pc:sldChg chg="new del">
        <pc:chgData name="Zabolotna, Kateryna" userId="724a1d14-7a1d-4ba3-a47b-ab98eba40d1a" providerId="ADAL" clId="{42FF804E-5648-4342-A39E-C38A6C181F7D}" dt="2022-07-27T13:42:53.934" v="1606" actId="2696"/>
        <pc:sldMkLst>
          <pc:docMk/>
          <pc:sldMk cId="469323149" sldId="2147471535"/>
        </pc:sldMkLst>
      </pc:sldChg>
      <pc:sldChg chg="modSp add del mod">
        <pc:chgData name="Zabolotna, Kateryna" userId="724a1d14-7a1d-4ba3-a47b-ab98eba40d1a" providerId="ADAL" clId="{42FF804E-5648-4342-A39E-C38A6C181F7D}" dt="2022-07-28T07:45:30.541" v="3100" actId="2696"/>
        <pc:sldMkLst>
          <pc:docMk/>
          <pc:sldMk cId="2479380399" sldId="2147471536"/>
        </pc:sldMkLst>
        <pc:spChg chg="mod">
          <ac:chgData name="Zabolotna, Kateryna" userId="724a1d14-7a1d-4ba3-a47b-ab98eba40d1a" providerId="ADAL" clId="{42FF804E-5648-4342-A39E-C38A6C181F7D}" dt="2022-07-27T13:42:43.598" v="1605" actId="20577"/>
          <ac:spMkLst>
            <pc:docMk/>
            <pc:sldMk cId="2479380399" sldId="2147471536"/>
            <ac:spMk id="3" creationId="{050FE8AA-B2C3-ADC8-D9E8-C7B8350A23E3}"/>
          </ac:spMkLst>
        </pc:spChg>
      </pc:sldChg>
      <pc:sldChg chg="add modTransition">
        <pc:chgData name="Zabolotna, Kateryna" userId="724a1d14-7a1d-4ba3-a47b-ab98eba40d1a" providerId="ADAL" clId="{42FF804E-5648-4342-A39E-C38A6C181F7D}" dt="2022-07-28T08:21:38.522" v="3349"/>
        <pc:sldMkLst>
          <pc:docMk/>
          <pc:sldMk cId="1651607658" sldId="2147471537"/>
        </pc:sldMkLst>
      </pc:sldChg>
      <pc:sldChg chg="addSp delSp modSp new del mod modShow">
        <pc:chgData name="Zabolotna, Kateryna" userId="724a1d14-7a1d-4ba3-a47b-ab98eba40d1a" providerId="ADAL" clId="{42FF804E-5648-4342-A39E-C38A6C181F7D}" dt="2022-07-28T08:21:33.019" v="3348" actId="2696"/>
        <pc:sldMkLst>
          <pc:docMk/>
          <pc:sldMk cId="3439738463" sldId="2147471537"/>
        </pc:sldMkLst>
        <pc:spChg chg="del">
          <ac:chgData name="Zabolotna, Kateryna" userId="724a1d14-7a1d-4ba3-a47b-ab98eba40d1a" providerId="ADAL" clId="{42FF804E-5648-4342-A39E-C38A6C181F7D}" dt="2022-07-27T14:06:10.480" v="1697" actId="26606"/>
          <ac:spMkLst>
            <pc:docMk/>
            <pc:sldMk cId="3439738463" sldId="2147471537"/>
            <ac:spMk id="2" creationId="{F30E3F3F-0BF6-6502-673A-540624BFF49F}"/>
          </ac:spMkLst>
        </pc:spChg>
        <pc:spChg chg="del">
          <ac:chgData name="Zabolotna, Kateryna" userId="724a1d14-7a1d-4ba3-a47b-ab98eba40d1a" providerId="ADAL" clId="{42FF804E-5648-4342-A39E-C38A6C181F7D}" dt="2022-07-27T14:06:10.480" v="1697" actId="26606"/>
          <ac:spMkLst>
            <pc:docMk/>
            <pc:sldMk cId="3439738463" sldId="2147471537"/>
            <ac:spMk id="3" creationId="{CB4C40B1-1653-D062-EE34-A781C740E888}"/>
          </ac:spMkLst>
        </pc:spChg>
        <pc:spChg chg="add mod">
          <ac:chgData name="Zabolotna, Kateryna" userId="724a1d14-7a1d-4ba3-a47b-ab98eba40d1a" providerId="ADAL" clId="{42FF804E-5648-4342-A39E-C38A6C181F7D}" dt="2022-07-27T14:07:13.791" v="1714" actId="1076"/>
          <ac:spMkLst>
            <pc:docMk/>
            <pc:sldMk cId="3439738463" sldId="2147471537"/>
            <ac:spMk id="7" creationId="{3EAC6DD1-BDD1-BF33-A259-A6E783FE00ED}"/>
          </ac:spMkLst>
        </pc:spChg>
        <pc:spChg chg="add del">
          <ac:chgData name="Zabolotna, Kateryna" userId="724a1d14-7a1d-4ba3-a47b-ab98eba40d1a" providerId="ADAL" clId="{42FF804E-5648-4342-A39E-C38A6C181F7D}" dt="2022-07-27T14:06:55.278" v="1703" actId="478"/>
          <ac:spMkLst>
            <pc:docMk/>
            <pc:sldMk cId="3439738463" sldId="2147471537"/>
            <ac:spMk id="9" creationId="{CEBBBD9E-7B19-1A7F-234B-7503C84D6AFF}"/>
          </ac:spMkLst>
        </pc:spChg>
        <pc:picChg chg="add mod">
          <ac:chgData name="Zabolotna, Kateryna" userId="724a1d14-7a1d-4ba3-a47b-ab98eba40d1a" providerId="ADAL" clId="{42FF804E-5648-4342-A39E-C38A6C181F7D}" dt="2022-07-27T14:06:17.300" v="1699" actId="1076"/>
          <ac:picMkLst>
            <pc:docMk/>
            <pc:sldMk cId="3439738463" sldId="2147471537"/>
            <ac:picMk id="4" creationId="{967984A2-8A32-2463-9DA4-853BCC894046}"/>
          </ac:picMkLst>
        </pc:picChg>
        <pc:picChg chg="add mod">
          <ac:chgData name="Zabolotna, Kateryna" userId="724a1d14-7a1d-4ba3-a47b-ab98eba40d1a" providerId="ADAL" clId="{42FF804E-5648-4342-A39E-C38A6C181F7D}" dt="2022-07-27T14:06:27.511" v="1702" actId="1076"/>
          <ac:picMkLst>
            <pc:docMk/>
            <pc:sldMk cId="3439738463" sldId="2147471537"/>
            <ac:picMk id="5" creationId="{AA2395FC-10C1-C45F-F1AA-12133543BB1F}"/>
          </ac:picMkLst>
        </pc:picChg>
        <pc:picChg chg="add del mod">
          <ac:chgData name="Zabolotna, Kateryna" userId="724a1d14-7a1d-4ba3-a47b-ab98eba40d1a" providerId="ADAL" clId="{42FF804E-5648-4342-A39E-C38A6C181F7D}" dt="2022-07-28T07:38:33.639" v="2987" actId="478"/>
          <ac:picMkLst>
            <pc:docMk/>
            <pc:sldMk cId="3439738463" sldId="2147471537"/>
            <ac:picMk id="8" creationId="{4DDCDD58-1F16-4764-7207-048561601B49}"/>
          </ac:picMkLst>
        </pc:picChg>
        <pc:picChg chg="add del mod">
          <ac:chgData name="Zabolotna, Kateryna" userId="724a1d14-7a1d-4ba3-a47b-ab98eba40d1a" providerId="ADAL" clId="{42FF804E-5648-4342-A39E-C38A6C181F7D}" dt="2022-07-28T07:38:33.639" v="2987" actId="478"/>
          <ac:picMkLst>
            <pc:docMk/>
            <pc:sldMk cId="3439738463" sldId="2147471537"/>
            <ac:picMk id="10" creationId="{E5532FD6-5AA5-EDF6-A225-61B71429F2FD}"/>
          </ac:picMkLst>
        </pc:picChg>
        <pc:picChg chg="add del mod">
          <ac:chgData name="Zabolotna, Kateryna" userId="724a1d14-7a1d-4ba3-a47b-ab98eba40d1a" providerId="ADAL" clId="{42FF804E-5648-4342-A39E-C38A6C181F7D}" dt="2022-07-28T07:38:33.639" v="2987" actId="478"/>
          <ac:picMkLst>
            <pc:docMk/>
            <pc:sldMk cId="3439738463" sldId="2147471537"/>
            <ac:picMk id="11" creationId="{F7594734-32E7-60D8-84B2-FD2BBD7CEEF9}"/>
          </ac:picMkLst>
        </pc:picChg>
      </pc:sldChg>
      <pc:sldChg chg="add modTransition">
        <pc:chgData name="Zabolotna, Kateryna" userId="724a1d14-7a1d-4ba3-a47b-ab98eba40d1a" providerId="ADAL" clId="{42FF804E-5648-4342-A39E-C38A6C181F7D}" dt="2022-07-28T07:57:15.836" v="3228"/>
        <pc:sldMkLst>
          <pc:docMk/>
          <pc:sldMk cId="1706511124" sldId="2147471538"/>
        </pc:sldMkLst>
      </pc:sldChg>
      <pc:sldChg chg="addSp modSp new add del mod ord modAnim modShow">
        <pc:chgData name="Zabolotna, Kateryna" userId="724a1d14-7a1d-4ba3-a47b-ab98eba40d1a" providerId="ADAL" clId="{42FF804E-5648-4342-A39E-C38A6C181F7D}" dt="2022-07-28T07:57:09.956" v="3227" actId="2696"/>
        <pc:sldMkLst>
          <pc:docMk/>
          <pc:sldMk cId="3887483230" sldId="2147471538"/>
        </pc:sldMkLst>
        <pc:spChg chg="add mod">
          <ac:chgData name="Zabolotna, Kateryna" userId="724a1d14-7a1d-4ba3-a47b-ab98eba40d1a" providerId="ADAL" clId="{42FF804E-5648-4342-A39E-C38A6C181F7D}" dt="2022-07-27T20:40:32.026" v="2004"/>
          <ac:spMkLst>
            <pc:docMk/>
            <pc:sldMk cId="3887483230" sldId="2147471538"/>
            <ac:spMk id="2" creationId="{0182C222-A22F-6018-CE1C-59FA44DC34EF}"/>
          </ac:spMkLst>
        </pc:spChg>
        <pc:spChg chg="mod">
          <ac:chgData name="Zabolotna, Kateryna" userId="724a1d14-7a1d-4ba3-a47b-ab98eba40d1a" providerId="ADAL" clId="{42FF804E-5648-4342-A39E-C38A6C181F7D}" dt="2022-07-27T20:40:32.026" v="2004"/>
          <ac:spMkLst>
            <pc:docMk/>
            <pc:sldMk cId="3887483230" sldId="2147471538"/>
            <ac:spMk id="5" creationId="{5DFA6888-80AA-B47D-EFCA-0022DF27D54F}"/>
          </ac:spMkLst>
        </pc:spChg>
        <pc:spChg chg="mod">
          <ac:chgData name="Zabolotna, Kateryna" userId="724a1d14-7a1d-4ba3-a47b-ab98eba40d1a" providerId="ADAL" clId="{42FF804E-5648-4342-A39E-C38A6C181F7D}" dt="2022-07-27T20:40:42.577" v="2005"/>
          <ac:spMkLst>
            <pc:docMk/>
            <pc:sldMk cId="3887483230" sldId="2147471538"/>
            <ac:spMk id="13" creationId="{767C612A-7928-1CB3-D91B-904452152BB4}"/>
          </ac:spMkLst>
        </pc:spChg>
        <pc:spChg chg="mod">
          <ac:chgData name="Zabolotna, Kateryna" userId="724a1d14-7a1d-4ba3-a47b-ab98eba40d1a" providerId="ADAL" clId="{42FF804E-5648-4342-A39E-C38A6C181F7D}" dt="2022-07-27T20:41:52.164" v="2009"/>
          <ac:spMkLst>
            <pc:docMk/>
            <pc:sldMk cId="3887483230" sldId="2147471538"/>
            <ac:spMk id="17" creationId="{5F37FFB1-858E-F5C6-D2D6-3B1E4D17DD1D}"/>
          </ac:spMkLst>
        </pc:spChg>
        <pc:spChg chg="mod">
          <ac:chgData name="Zabolotna, Kateryna" userId="724a1d14-7a1d-4ba3-a47b-ab98eba40d1a" providerId="ADAL" clId="{42FF804E-5648-4342-A39E-C38A6C181F7D}" dt="2022-07-27T20:41:52.164" v="2009"/>
          <ac:spMkLst>
            <pc:docMk/>
            <pc:sldMk cId="3887483230" sldId="2147471538"/>
            <ac:spMk id="19" creationId="{952A4DDD-019B-12F9-6365-71B384EBEA10}"/>
          </ac:spMkLst>
        </pc:spChg>
        <pc:spChg chg="add mod">
          <ac:chgData name="Zabolotna, Kateryna" userId="724a1d14-7a1d-4ba3-a47b-ab98eba40d1a" providerId="ADAL" clId="{42FF804E-5648-4342-A39E-C38A6C181F7D}" dt="2022-07-27T20:41:58.760" v="2010" actId="1076"/>
          <ac:spMkLst>
            <pc:docMk/>
            <pc:sldMk cId="3887483230" sldId="2147471538"/>
            <ac:spMk id="20" creationId="{824C4271-DBAC-DB58-5DB5-1805C8F2BD8D}"/>
          </ac:spMkLst>
        </pc:spChg>
        <pc:spChg chg="add mod">
          <ac:chgData name="Zabolotna, Kateryna" userId="724a1d14-7a1d-4ba3-a47b-ab98eba40d1a" providerId="ADAL" clId="{42FF804E-5648-4342-A39E-C38A6C181F7D}" dt="2022-07-27T20:42:05.647" v="2011" actId="1076"/>
          <ac:spMkLst>
            <pc:docMk/>
            <pc:sldMk cId="3887483230" sldId="2147471538"/>
            <ac:spMk id="21" creationId="{C198BC28-80BB-A1E8-2A11-9031645A263A}"/>
          </ac:spMkLst>
        </pc:spChg>
        <pc:grpChg chg="add mod">
          <ac:chgData name="Zabolotna, Kateryna" userId="724a1d14-7a1d-4ba3-a47b-ab98eba40d1a" providerId="ADAL" clId="{42FF804E-5648-4342-A39E-C38A6C181F7D}" dt="2022-07-27T20:40:32.026" v="2004"/>
          <ac:grpSpMkLst>
            <pc:docMk/>
            <pc:sldMk cId="3887483230" sldId="2147471538"/>
            <ac:grpSpMk id="3" creationId="{F9BC2EB1-692F-6ED7-C379-83A62D5F3AB2}"/>
          </ac:grpSpMkLst>
        </pc:grpChg>
        <pc:grpChg chg="add mod">
          <ac:chgData name="Zabolotna, Kateryna" userId="724a1d14-7a1d-4ba3-a47b-ab98eba40d1a" providerId="ADAL" clId="{42FF804E-5648-4342-A39E-C38A6C181F7D}" dt="2022-07-27T20:40:32.026" v="2004"/>
          <ac:grpSpMkLst>
            <pc:docMk/>
            <pc:sldMk cId="3887483230" sldId="2147471538"/>
            <ac:grpSpMk id="6" creationId="{0A7D1605-A039-89B8-DE5B-29542C9D260C}"/>
          </ac:grpSpMkLst>
        </pc:grpChg>
        <pc:grpChg chg="mod">
          <ac:chgData name="Zabolotna, Kateryna" userId="724a1d14-7a1d-4ba3-a47b-ab98eba40d1a" providerId="ADAL" clId="{42FF804E-5648-4342-A39E-C38A6C181F7D}" dt="2022-07-27T20:40:32.026" v="2004"/>
          <ac:grpSpMkLst>
            <pc:docMk/>
            <pc:sldMk cId="3887483230" sldId="2147471538"/>
            <ac:grpSpMk id="7" creationId="{FE60B098-ED4B-DC9A-243A-8A3C4355F618}"/>
          </ac:grpSpMkLst>
        </pc:grpChg>
        <pc:grpChg chg="add mod">
          <ac:chgData name="Zabolotna, Kateryna" userId="724a1d14-7a1d-4ba3-a47b-ab98eba40d1a" providerId="ADAL" clId="{42FF804E-5648-4342-A39E-C38A6C181F7D}" dt="2022-07-27T20:40:50.409" v="2006" actId="1076"/>
          <ac:grpSpMkLst>
            <pc:docMk/>
            <pc:sldMk cId="3887483230" sldId="2147471538"/>
            <ac:grpSpMk id="11" creationId="{BEB19DA8-CA39-AA8F-F87A-9A8C4DC09464}"/>
          </ac:grpSpMkLst>
        </pc:grpChg>
        <pc:grpChg chg="add mod">
          <ac:chgData name="Zabolotna, Kateryna" userId="724a1d14-7a1d-4ba3-a47b-ab98eba40d1a" providerId="ADAL" clId="{42FF804E-5648-4342-A39E-C38A6C181F7D}" dt="2022-07-27T20:41:58.760" v="2010" actId="1076"/>
          <ac:grpSpMkLst>
            <pc:docMk/>
            <pc:sldMk cId="3887483230" sldId="2147471538"/>
            <ac:grpSpMk id="16" creationId="{5A1F5708-7800-C775-847F-D56F7E6443A4}"/>
          </ac:grpSpMkLst>
        </pc:grpChg>
        <pc:grpChg chg="add mod">
          <ac:chgData name="Zabolotna, Kateryna" userId="724a1d14-7a1d-4ba3-a47b-ab98eba40d1a" providerId="ADAL" clId="{42FF804E-5648-4342-A39E-C38A6C181F7D}" dt="2022-07-27T20:42:05.647" v="2011" actId="1076"/>
          <ac:grpSpMkLst>
            <pc:docMk/>
            <pc:sldMk cId="3887483230" sldId="2147471538"/>
            <ac:grpSpMk id="18" creationId="{B08AFE2F-F85B-EC8E-49BB-6302D0B693BE}"/>
          </ac:grpSpMkLst>
        </pc:grpChg>
        <pc:picChg chg="mod">
          <ac:chgData name="Zabolotna, Kateryna" userId="724a1d14-7a1d-4ba3-a47b-ab98eba40d1a" providerId="ADAL" clId="{42FF804E-5648-4342-A39E-C38A6C181F7D}" dt="2022-07-27T20:40:32.026" v="2004"/>
          <ac:picMkLst>
            <pc:docMk/>
            <pc:sldMk cId="3887483230" sldId="2147471538"/>
            <ac:picMk id="4" creationId="{71BBD670-D46B-BE6A-23B0-2ECEBE94B0CC}"/>
          </ac:picMkLst>
        </pc:picChg>
        <pc:picChg chg="mod">
          <ac:chgData name="Zabolotna, Kateryna" userId="724a1d14-7a1d-4ba3-a47b-ab98eba40d1a" providerId="ADAL" clId="{42FF804E-5648-4342-A39E-C38A6C181F7D}" dt="2022-07-27T20:40:32.026" v="2004"/>
          <ac:picMkLst>
            <pc:docMk/>
            <pc:sldMk cId="3887483230" sldId="2147471538"/>
            <ac:picMk id="8" creationId="{7B78D69A-E413-6A67-E19F-CA0B02CF586E}"/>
          </ac:picMkLst>
        </pc:picChg>
        <pc:picChg chg="mod">
          <ac:chgData name="Zabolotna, Kateryna" userId="724a1d14-7a1d-4ba3-a47b-ab98eba40d1a" providerId="ADAL" clId="{42FF804E-5648-4342-A39E-C38A6C181F7D}" dt="2022-07-27T20:40:32.026" v="2004"/>
          <ac:picMkLst>
            <pc:docMk/>
            <pc:sldMk cId="3887483230" sldId="2147471538"/>
            <ac:picMk id="9" creationId="{FF457F71-7D9C-26FC-CC46-405B38078610}"/>
          </ac:picMkLst>
        </pc:picChg>
        <pc:picChg chg="mod">
          <ac:chgData name="Zabolotna, Kateryna" userId="724a1d14-7a1d-4ba3-a47b-ab98eba40d1a" providerId="ADAL" clId="{42FF804E-5648-4342-A39E-C38A6C181F7D}" dt="2022-07-27T20:40:32.026" v="2004"/>
          <ac:picMkLst>
            <pc:docMk/>
            <pc:sldMk cId="3887483230" sldId="2147471538"/>
            <ac:picMk id="10" creationId="{15102339-6278-CAAF-8731-45B6E2326F14}"/>
          </ac:picMkLst>
        </pc:picChg>
        <pc:picChg chg="mod">
          <ac:chgData name="Zabolotna, Kateryna" userId="724a1d14-7a1d-4ba3-a47b-ab98eba40d1a" providerId="ADAL" clId="{42FF804E-5648-4342-A39E-C38A6C181F7D}" dt="2022-07-27T20:40:42.577" v="2005"/>
          <ac:picMkLst>
            <pc:docMk/>
            <pc:sldMk cId="3887483230" sldId="2147471538"/>
            <ac:picMk id="12" creationId="{1B439FF8-3E6D-671F-DB4E-21E8ADBFE3E2}"/>
          </ac:picMkLst>
        </pc:picChg>
        <pc:picChg chg="add mod">
          <ac:chgData name="Zabolotna, Kateryna" userId="724a1d14-7a1d-4ba3-a47b-ab98eba40d1a" providerId="ADAL" clId="{42FF804E-5648-4342-A39E-C38A6C181F7D}" dt="2022-07-27T20:41:33.464" v="2008" actId="1076"/>
          <ac:picMkLst>
            <pc:docMk/>
            <pc:sldMk cId="3887483230" sldId="2147471538"/>
            <ac:picMk id="14" creationId="{FDA1408F-6EF9-2B2C-3957-FF97D7B0FA63}"/>
          </ac:picMkLst>
        </pc:picChg>
        <pc:picChg chg="add mod">
          <ac:chgData name="Zabolotna, Kateryna" userId="724a1d14-7a1d-4ba3-a47b-ab98eba40d1a" providerId="ADAL" clId="{42FF804E-5648-4342-A39E-C38A6C181F7D}" dt="2022-07-27T20:41:33.464" v="2008" actId="1076"/>
          <ac:picMkLst>
            <pc:docMk/>
            <pc:sldMk cId="3887483230" sldId="2147471538"/>
            <ac:picMk id="15" creationId="{A028B769-EB3E-060C-ED2B-CF7CBF151A68}"/>
          </ac:picMkLst>
        </pc:picChg>
        <pc:picChg chg="add mod">
          <ac:chgData name="Zabolotna, Kateryna" userId="724a1d14-7a1d-4ba3-a47b-ab98eba40d1a" providerId="ADAL" clId="{42FF804E-5648-4342-A39E-C38A6C181F7D}" dt="2022-07-27T20:42:05.647" v="2011" actId="1076"/>
          <ac:picMkLst>
            <pc:docMk/>
            <pc:sldMk cId="3887483230" sldId="2147471538"/>
            <ac:picMk id="22" creationId="{6671EC21-2B6C-F56B-01A9-C0F3023C6B7A}"/>
          </ac:picMkLst>
        </pc:picChg>
        <pc:picChg chg="add mod">
          <ac:chgData name="Zabolotna, Kateryna" userId="724a1d14-7a1d-4ba3-a47b-ab98eba40d1a" providerId="ADAL" clId="{42FF804E-5648-4342-A39E-C38A6C181F7D}" dt="2022-07-27T20:41:58.760" v="2010" actId="1076"/>
          <ac:picMkLst>
            <pc:docMk/>
            <pc:sldMk cId="3887483230" sldId="2147471538"/>
            <ac:picMk id="23" creationId="{ADE29797-6CE0-517F-4811-F6A73B2026CD}"/>
          </ac:picMkLst>
        </pc:picChg>
      </pc:sldChg>
      <pc:sldChg chg="add modTransition">
        <pc:chgData name="Zabolotna, Kateryna" userId="724a1d14-7a1d-4ba3-a47b-ab98eba40d1a" providerId="ADAL" clId="{42FF804E-5648-4342-A39E-C38A6C181F7D}" dt="2022-07-28T07:57:15.836" v="3228"/>
        <pc:sldMkLst>
          <pc:docMk/>
          <pc:sldMk cId="1850038620" sldId="2147471539"/>
        </pc:sldMkLst>
      </pc:sldChg>
      <pc:sldChg chg="addSp modSp new del mod modAnim modShow">
        <pc:chgData name="Zabolotna, Kateryna" userId="724a1d14-7a1d-4ba3-a47b-ab98eba40d1a" providerId="ADAL" clId="{42FF804E-5648-4342-A39E-C38A6C181F7D}" dt="2022-07-27T21:29:02.667" v="2817" actId="2696"/>
        <pc:sldMkLst>
          <pc:docMk/>
          <pc:sldMk cId="1914187430" sldId="2147471539"/>
        </pc:sldMkLst>
        <pc:spChg chg="add mod">
          <ac:chgData name="Zabolotna, Kateryna" userId="724a1d14-7a1d-4ba3-a47b-ab98eba40d1a" providerId="ADAL" clId="{42FF804E-5648-4342-A39E-C38A6C181F7D}" dt="2022-07-27T20:43:04.788" v="2015"/>
          <ac:spMkLst>
            <pc:docMk/>
            <pc:sldMk cId="1914187430" sldId="2147471539"/>
            <ac:spMk id="2" creationId="{ECF1DA8F-B53A-61CE-EA9C-03901ACB6CEF}"/>
          </ac:spMkLst>
        </pc:spChg>
        <pc:spChg chg="mod">
          <ac:chgData name="Zabolotna, Kateryna" userId="724a1d14-7a1d-4ba3-a47b-ab98eba40d1a" providerId="ADAL" clId="{42FF804E-5648-4342-A39E-C38A6C181F7D}" dt="2022-07-27T20:43:04.788" v="2015"/>
          <ac:spMkLst>
            <pc:docMk/>
            <pc:sldMk cId="1914187430" sldId="2147471539"/>
            <ac:spMk id="5" creationId="{6AFD90D5-16B6-84E3-B48F-FCFFF0B4FF99}"/>
          </ac:spMkLst>
        </pc:spChg>
        <pc:spChg chg="mod">
          <ac:chgData name="Zabolotna, Kateryna" userId="724a1d14-7a1d-4ba3-a47b-ab98eba40d1a" providerId="ADAL" clId="{42FF804E-5648-4342-A39E-C38A6C181F7D}" dt="2022-07-27T20:43:04.788" v="2015"/>
          <ac:spMkLst>
            <pc:docMk/>
            <pc:sldMk cId="1914187430" sldId="2147471539"/>
            <ac:spMk id="9" creationId="{48A2D996-9BA0-7376-E583-C6BB92B02D9A}"/>
          </ac:spMkLst>
        </pc:spChg>
        <pc:spChg chg="mod">
          <ac:chgData name="Zabolotna, Kateryna" userId="724a1d14-7a1d-4ba3-a47b-ab98eba40d1a" providerId="ADAL" clId="{42FF804E-5648-4342-A39E-C38A6C181F7D}" dt="2022-07-27T20:43:04.788" v="2015"/>
          <ac:spMkLst>
            <pc:docMk/>
            <pc:sldMk cId="1914187430" sldId="2147471539"/>
            <ac:spMk id="10" creationId="{6C4C0205-237E-CA81-2455-EF35CBCD5BEC}"/>
          </ac:spMkLst>
        </pc:spChg>
        <pc:spChg chg="mod">
          <ac:chgData name="Zabolotna, Kateryna" userId="724a1d14-7a1d-4ba3-a47b-ab98eba40d1a" providerId="ADAL" clId="{42FF804E-5648-4342-A39E-C38A6C181F7D}" dt="2022-07-27T20:43:23.082" v="2016"/>
          <ac:spMkLst>
            <pc:docMk/>
            <pc:sldMk cId="1914187430" sldId="2147471539"/>
            <ac:spMk id="20" creationId="{8C5E5437-E8D7-78F0-5DFF-65E51FB6D2A7}"/>
          </ac:spMkLst>
        </pc:spChg>
        <pc:spChg chg="mod">
          <ac:chgData name="Zabolotna, Kateryna" userId="724a1d14-7a1d-4ba3-a47b-ab98eba40d1a" providerId="ADAL" clId="{42FF804E-5648-4342-A39E-C38A6C181F7D}" dt="2022-07-27T20:43:23.082" v="2016"/>
          <ac:spMkLst>
            <pc:docMk/>
            <pc:sldMk cId="1914187430" sldId="2147471539"/>
            <ac:spMk id="23" creationId="{146FC153-CE86-5B7F-B5AD-46438012A071}"/>
          </ac:spMkLst>
        </pc:spChg>
        <pc:spChg chg="mod">
          <ac:chgData name="Zabolotna, Kateryna" userId="724a1d14-7a1d-4ba3-a47b-ab98eba40d1a" providerId="ADAL" clId="{42FF804E-5648-4342-A39E-C38A6C181F7D}" dt="2022-07-27T20:43:23.082" v="2016"/>
          <ac:spMkLst>
            <pc:docMk/>
            <pc:sldMk cId="1914187430" sldId="2147471539"/>
            <ac:spMk id="26" creationId="{90E48FCF-7B5A-DCB3-CEED-B2F1F8F97C84}"/>
          </ac:spMkLst>
        </pc:spChg>
        <pc:grpChg chg="add mod">
          <ac:chgData name="Zabolotna, Kateryna" userId="724a1d14-7a1d-4ba3-a47b-ab98eba40d1a" providerId="ADAL" clId="{42FF804E-5648-4342-A39E-C38A6C181F7D}" dt="2022-07-27T20:43:04.788" v="2015"/>
          <ac:grpSpMkLst>
            <pc:docMk/>
            <pc:sldMk cId="1914187430" sldId="2147471539"/>
            <ac:grpSpMk id="3" creationId="{16D0EDF4-2E60-C128-B5B8-1A1F9DA164F9}"/>
          </ac:grpSpMkLst>
        </pc:grpChg>
        <pc:grpChg chg="add mod">
          <ac:chgData name="Zabolotna, Kateryna" userId="724a1d14-7a1d-4ba3-a47b-ab98eba40d1a" providerId="ADAL" clId="{42FF804E-5648-4342-A39E-C38A6C181F7D}" dt="2022-07-27T20:43:04.788" v="2015"/>
          <ac:grpSpMkLst>
            <pc:docMk/>
            <pc:sldMk cId="1914187430" sldId="2147471539"/>
            <ac:grpSpMk id="7" creationId="{C989C597-A889-1004-1A42-B229AD126826}"/>
          </ac:grpSpMkLst>
        </pc:grpChg>
        <pc:grpChg chg="add mod">
          <ac:chgData name="Zabolotna, Kateryna" userId="724a1d14-7a1d-4ba3-a47b-ab98eba40d1a" providerId="ADAL" clId="{42FF804E-5648-4342-A39E-C38A6C181F7D}" dt="2022-07-27T20:43:04.788" v="2015"/>
          <ac:grpSpMkLst>
            <pc:docMk/>
            <pc:sldMk cId="1914187430" sldId="2147471539"/>
            <ac:grpSpMk id="11" creationId="{2ACBA60B-228E-B27D-DC2D-2645A664CDAE}"/>
          </ac:grpSpMkLst>
        </pc:grpChg>
        <pc:grpChg chg="mod">
          <ac:chgData name="Zabolotna, Kateryna" userId="724a1d14-7a1d-4ba3-a47b-ab98eba40d1a" providerId="ADAL" clId="{42FF804E-5648-4342-A39E-C38A6C181F7D}" dt="2022-07-27T20:43:04.788" v="2015"/>
          <ac:grpSpMkLst>
            <pc:docMk/>
            <pc:sldMk cId="1914187430" sldId="2147471539"/>
            <ac:grpSpMk id="12" creationId="{1EA6B32C-0AFD-41C0-DC88-F647A47085AB}"/>
          </ac:grpSpMkLst>
        </pc:grpChg>
        <pc:grpChg chg="add mod">
          <ac:chgData name="Zabolotna, Kateryna" userId="724a1d14-7a1d-4ba3-a47b-ab98eba40d1a" providerId="ADAL" clId="{42FF804E-5648-4342-A39E-C38A6C181F7D}" dt="2022-07-27T20:43:23.082" v="2016"/>
          <ac:grpSpMkLst>
            <pc:docMk/>
            <pc:sldMk cId="1914187430" sldId="2147471539"/>
            <ac:grpSpMk id="18" creationId="{B0F1A832-69BE-221F-4F45-6F2D6020C78A}"/>
          </ac:grpSpMkLst>
        </pc:grpChg>
        <pc:grpChg chg="add mod">
          <ac:chgData name="Zabolotna, Kateryna" userId="724a1d14-7a1d-4ba3-a47b-ab98eba40d1a" providerId="ADAL" clId="{42FF804E-5648-4342-A39E-C38A6C181F7D}" dt="2022-07-27T20:43:23.082" v="2016"/>
          <ac:grpSpMkLst>
            <pc:docMk/>
            <pc:sldMk cId="1914187430" sldId="2147471539"/>
            <ac:grpSpMk id="21" creationId="{C7971E98-F047-6969-2568-B7E097D82F95}"/>
          </ac:grpSpMkLst>
        </pc:grpChg>
        <pc:grpChg chg="add mod">
          <ac:chgData name="Zabolotna, Kateryna" userId="724a1d14-7a1d-4ba3-a47b-ab98eba40d1a" providerId="ADAL" clId="{42FF804E-5648-4342-A39E-C38A6C181F7D}" dt="2022-07-27T20:43:23.082" v="2016"/>
          <ac:grpSpMkLst>
            <pc:docMk/>
            <pc:sldMk cId="1914187430" sldId="2147471539"/>
            <ac:grpSpMk id="24" creationId="{5A3CCF4B-2F4C-3B16-53C0-420C4360FE40}"/>
          </ac:grpSpMkLst>
        </pc:grpChg>
        <pc:picChg chg="mod">
          <ac:chgData name="Zabolotna, Kateryna" userId="724a1d14-7a1d-4ba3-a47b-ab98eba40d1a" providerId="ADAL" clId="{42FF804E-5648-4342-A39E-C38A6C181F7D}" dt="2022-07-27T20:43:04.788" v="2015"/>
          <ac:picMkLst>
            <pc:docMk/>
            <pc:sldMk cId="1914187430" sldId="2147471539"/>
            <ac:picMk id="4" creationId="{E2B49471-AFEA-B5A1-21B2-596E4E02F7FE}"/>
          </ac:picMkLst>
        </pc:picChg>
        <pc:picChg chg="mod">
          <ac:chgData name="Zabolotna, Kateryna" userId="724a1d14-7a1d-4ba3-a47b-ab98eba40d1a" providerId="ADAL" clId="{42FF804E-5648-4342-A39E-C38A6C181F7D}" dt="2022-07-27T20:43:04.788" v="2015"/>
          <ac:picMkLst>
            <pc:docMk/>
            <pc:sldMk cId="1914187430" sldId="2147471539"/>
            <ac:picMk id="8" creationId="{1BD5BA6F-B8AF-B753-3BDD-7F1C23346050}"/>
          </ac:picMkLst>
        </pc:picChg>
        <pc:picChg chg="mod">
          <ac:chgData name="Zabolotna, Kateryna" userId="724a1d14-7a1d-4ba3-a47b-ab98eba40d1a" providerId="ADAL" clId="{42FF804E-5648-4342-A39E-C38A6C181F7D}" dt="2022-07-27T20:43:04.788" v="2015"/>
          <ac:picMkLst>
            <pc:docMk/>
            <pc:sldMk cId="1914187430" sldId="2147471539"/>
            <ac:picMk id="13" creationId="{EC142A90-475F-5D31-A9A9-5EC0425A2430}"/>
          </ac:picMkLst>
        </pc:picChg>
        <pc:picChg chg="mod">
          <ac:chgData name="Zabolotna, Kateryna" userId="724a1d14-7a1d-4ba3-a47b-ab98eba40d1a" providerId="ADAL" clId="{42FF804E-5648-4342-A39E-C38A6C181F7D}" dt="2022-07-27T20:43:04.788" v="2015"/>
          <ac:picMkLst>
            <pc:docMk/>
            <pc:sldMk cId="1914187430" sldId="2147471539"/>
            <ac:picMk id="14" creationId="{1FE1DFDC-822E-6936-1D16-51AA02F35789}"/>
          </ac:picMkLst>
        </pc:picChg>
        <pc:picChg chg="mod">
          <ac:chgData name="Zabolotna, Kateryna" userId="724a1d14-7a1d-4ba3-a47b-ab98eba40d1a" providerId="ADAL" clId="{42FF804E-5648-4342-A39E-C38A6C181F7D}" dt="2022-07-27T20:43:04.788" v="2015"/>
          <ac:picMkLst>
            <pc:docMk/>
            <pc:sldMk cId="1914187430" sldId="2147471539"/>
            <ac:picMk id="15" creationId="{75ECF064-38FB-797E-B30E-A603C303CA22}"/>
          </ac:picMkLst>
        </pc:picChg>
        <pc:picChg chg="mod">
          <ac:chgData name="Zabolotna, Kateryna" userId="724a1d14-7a1d-4ba3-a47b-ab98eba40d1a" providerId="ADAL" clId="{42FF804E-5648-4342-A39E-C38A6C181F7D}" dt="2022-07-27T20:43:23.082" v="2016"/>
          <ac:picMkLst>
            <pc:docMk/>
            <pc:sldMk cId="1914187430" sldId="2147471539"/>
            <ac:picMk id="19" creationId="{11AE4A1C-1E09-FD2B-CA14-020EF109832D}"/>
          </ac:picMkLst>
        </pc:picChg>
        <pc:picChg chg="mod">
          <ac:chgData name="Zabolotna, Kateryna" userId="724a1d14-7a1d-4ba3-a47b-ab98eba40d1a" providerId="ADAL" clId="{42FF804E-5648-4342-A39E-C38A6C181F7D}" dt="2022-07-27T20:43:23.082" v="2016"/>
          <ac:picMkLst>
            <pc:docMk/>
            <pc:sldMk cId="1914187430" sldId="2147471539"/>
            <ac:picMk id="22" creationId="{B32269DD-933E-B982-9548-7DE75050388D}"/>
          </ac:picMkLst>
        </pc:picChg>
        <pc:picChg chg="mod">
          <ac:chgData name="Zabolotna, Kateryna" userId="724a1d14-7a1d-4ba3-a47b-ab98eba40d1a" providerId="ADAL" clId="{42FF804E-5648-4342-A39E-C38A6C181F7D}" dt="2022-07-27T20:43:23.082" v="2016"/>
          <ac:picMkLst>
            <pc:docMk/>
            <pc:sldMk cId="1914187430" sldId="2147471539"/>
            <ac:picMk id="25" creationId="{20A74033-5203-025D-A76A-29C376D7AE93}"/>
          </ac:picMkLst>
        </pc:picChg>
        <pc:cxnChg chg="add mod">
          <ac:chgData name="Zabolotna, Kateryna" userId="724a1d14-7a1d-4ba3-a47b-ab98eba40d1a" providerId="ADAL" clId="{42FF804E-5648-4342-A39E-C38A6C181F7D}" dt="2022-07-27T20:43:04.788" v="2015"/>
          <ac:cxnSpMkLst>
            <pc:docMk/>
            <pc:sldMk cId="1914187430" sldId="2147471539"/>
            <ac:cxnSpMk id="6" creationId="{A2C1D82C-2EB4-E2F2-865E-A810FCD01AB9}"/>
          </ac:cxnSpMkLst>
        </pc:cxnChg>
        <pc:cxnChg chg="add mod">
          <ac:chgData name="Zabolotna, Kateryna" userId="724a1d14-7a1d-4ba3-a47b-ab98eba40d1a" providerId="ADAL" clId="{42FF804E-5648-4342-A39E-C38A6C181F7D}" dt="2022-07-27T20:43:23.082" v="2016"/>
          <ac:cxnSpMkLst>
            <pc:docMk/>
            <pc:sldMk cId="1914187430" sldId="2147471539"/>
            <ac:cxnSpMk id="16" creationId="{4591198F-97F5-F8AB-8A0B-C5E8DC11D3FA}"/>
          </ac:cxnSpMkLst>
        </pc:cxnChg>
        <pc:cxnChg chg="add mod">
          <ac:chgData name="Zabolotna, Kateryna" userId="724a1d14-7a1d-4ba3-a47b-ab98eba40d1a" providerId="ADAL" clId="{42FF804E-5648-4342-A39E-C38A6C181F7D}" dt="2022-07-27T20:43:23.082" v="2016"/>
          <ac:cxnSpMkLst>
            <pc:docMk/>
            <pc:sldMk cId="1914187430" sldId="2147471539"/>
            <ac:cxnSpMk id="17" creationId="{F10862F7-0BD4-22E8-1A40-107FB865B609}"/>
          </ac:cxnSpMkLst>
        </pc:cxnChg>
      </pc:sldChg>
      <pc:sldChg chg="add del">
        <pc:chgData name="Zabolotna, Kateryna" userId="724a1d14-7a1d-4ba3-a47b-ab98eba40d1a" providerId="ADAL" clId="{42FF804E-5648-4342-A39E-C38A6C181F7D}" dt="2022-07-28T07:57:09.956" v="3227" actId="2696"/>
        <pc:sldMkLst>
          <pc:docMk/>
          <pc:sldMk cId="4068698812" sldId="2147471539"/>
        </pc:sldMkLst>
      </pc:sldChg>
      <pc:sldChg chg="add del">
        <pc:chgData name="Zabolotna, Kateryna" userId="724a1d14-7a1d-4ba3-a47b-ab98eba40d1a" providerId="ADAL" clId="{42FF804E-5648-4342-A39E-C38A6C181F7D}" dt="2022-07-28T07:57:09.956" v="3227" actId="2696"/>
        <pc:sldMkLst>
          <pc:docMk/>
          <pc:sldMk cId="268589151" sldId="2147471540"/>
        </pc:sldMkLst>
      </pc:sldChg>
      <pc:sldChg chg="add modTransition">
        <pc:chgData name="Zabolotna, Kateryna" userId="724a1d14-7a1d-4ba3-a47b-ab98eba40d1a" providerId="ADAL" clId="{42FF804E-5648-4342-A39E-C38A6C181F7D}" dt="2022-07-28T07:57:15.836" v="3228"/>
        <pc:sldMkLst>
          <pc:docMk/>
          <pc:sldMk cId="1342824725" sldId="2147471540"/>
        </pc:sldMkLst>
      </pc:sldChg>
      <pc:sldChg chg="addSp modSp new del mod modAnim modShow">
        <pc:chgData name="Zabolotna, Kateryna" userId="724a1d14-7a1d-4ba3-a47b-ab98eba40d1a" providerId="ADAL" clId="{42FF804E-5648-4342-A39E-C38A6C181F7D}" dt="2022-07-27T21:29:02.667" v="2817" actId="2696"/>
        <pc:sldMkLst>
          <pc:docMk/>
          <pc:sldMk cId="1978425422" sldId="2147471540"/>
        </pc:sldMkLst>
        <pc:spChg chg="add mod">
          <ac:chgData name="Zabolotna, Kateryna" userId="724a1d14-7a1d-4ba3-a47b-ab98eba40d1a" providerId="ADAL" clId="{42FF804E-5648-4342-A39E-C38A6C181F7D}" dt="2022-07-27T20:44:03.985" v="2018"/>
          <ac:spMkLst>
            <pc:docMk/>
            <pc:sldMk cId="1978425422" sldId="2147471540"/>
            <ac:spMk id="2" creationId="{A3A98AE8-7B65-85A8-8C97-F9BCF680CF88}"/>
          </ac:spMkLst>
        </pc:spChg>
        <pc:spChg chg="mod">
          <ac:chgData name="Zabolotna, Kateryna" userId="724a1d14-7a1d-4ba3-a47b-ab98eba40d1a" providerId="ADAL" clId="{42FF804E-5648-4342-A39E-C38A6C181F7D}" dt="2022-07-27T20:44:03.985" v="2018"/>
          <ac:spMkLst>
            <pc:docMk/>
            <pc:sldMk cId="1978425422" sldId="2147471540"/>
            <ac:spMk id="5" creationId="{D3CFE09E-B6DC-780C-0262-3FB5DFE1AF24}"/>
          </ac:spMkLst>
        </pc:spChg>
        <pc:spChg chg="mod">
          <ac:chgData name="Zabolotna, Kateryna" userId="724a1d14-7a1d-4ba3-a47b-ab98eba40d1a" providerId="ADAL" clId="{42FF804E-5648-4342-A39E-C38A6C181F7D}" dt="2022-07-27T20:44:03.985" v="2018"/>
          <ac:spMkLst>
            <pc:docMk/>
            <pc:sldMk cId="1978425422" sldId="2147471540"/>
            <ac:spMk id="9" creationId="{BE6E2E00-9718-0557-247D-C63F9BD3E1F6}"/>
          </ac:spMkLst>
        </pc:spChg>
        <pc:spChg chg="mod">
          <ac:chgData name="Zabolotna, Kateryna" userId="724a1d14-7a1d-4ba3-a47b-ab98eba40d1a" providerId="ADAL" clId="{42FF804E-5648-4342-A39E-C38A6C181F7D}" dt="2022-07-27T20:44:20.529" v="2019"/>
          <ac:spMkLst>
            <pc:docMk/>
            <pc:sldMk cId="1978425422" sldId="2147471540"/>
            <ac:spMk id="18" creationId="{761D4902-49ED-4DAD-3EF2-49C508B57E14}"/>
          </ac:spMkLst>
        </pc:spChg>
        <pc:spChg chg="mod">
          <ac:chgData name="Zabolotna, Kateryna" userId="724a1d14-7a1d-4ba3-a47b-ab98eba40d1a" providerId="ADAL" clId="{42FF804E-5648-4342-A39E-C38A6C181F7D}" dt="2022-07-27T20:44:20.529" v="2019"/>
          <ac:spMkLst>
            <pc:docMk/>
            <pc:sldMk cId="1978425422" sldId="2147471540"/>
            <ac:spMk id="21" creationId="{B6A2A596-5BD4-881C-0AE1-73276928E057}"/>
          </ac:spMkLst>
        </pc:spChg>
        <pc:grpChg chg="add mod">
          <ac:chgData name="Zabolotna, Kateryna" userId="724a1d14-7a1d-4ba3-a47b-ab98eba40d1a" providerId="ADAL" clId="{42FF804E-5648-4342-A39E-C38A6C181F7D}" dt="2022-07-27T20:44:03.985" v="2018"/>
          <ac:grpSpMkLst>
            <pc:docMk/>
            <pc:sldMk cId="1978425422" sldId="2147471540"/>
            <ac:grpSpMk id="3" creationId="{B9EEB067-7445-1A98-0E17-444A6026078F}"/>
          </ac:grpSpMkLst>
        </pc:grpChg>
        <pc:grpChg chg="add mod">
          <ac:chgData name="Zabolotna, Kateryna" userId="724a1d14-7a1d-4ba3-a47b-ab98eba40d1a" providerId="ADAL" clId="{42FF804E-5648-4342-A39E-C38A6C181F7D}" dt="2022-07-27T20:44:03.985" v="2018"/>
          <ac:grpSpMkLst>
            <pc:docMk/>
            <pc:sldMk cId="1978425422" sldId="2147471540"/>
            <ac:grpSpMk id="7" creationId="{8D60D2FD-4913-7855-D542-86F16089531A}"/>
          </ac:grpSpMkLst>
        </pc:grpChg>
        <pc:grpChg chg="add mod">
          <ac:chgData name="Zabolotna, Kateryna" userId="724a1d14-7a1d-4ba3-a47b-ab98eba40d1a" providerId="ADAL" clId="{42FF804E-5648-4342-A39E-C38A6C181F7D}" dt="2022-07-27T20:44:03.985" v="2018"/>
          <ac:grpSpMkLst>
            <pc:docMk/>
            <pc:sldMk cId="1978425422" sldId="2147471540"/>
            <ac:grpSpMk id="10" creationId="{3F5DE67C-7494-B80A-F9C0-23BEBD80D4E1}"/>
          </ac:grpSpMkLst>
        </pc:grpChg>
        <pc:grpChg chg="mod">
          <ac:chgData name="Zabolotna, Kateryna" userId="724a1d14-7a1d-4ba3-a47b-ab98eba40d1a" providerId="ADAL" clId="{42FF804E-5648-4342-A39E-C38A6C181F7D}" dt="2022-07-27T20:44:03.985" v="2018"/>
          <ac:grpSpMkLst>
            <pc:docMk/>
            <pc:sldMk cId="1978425422" sldId="2147471540"/>
            <ac:grpSpMk id="11" creationId="{B358FB9F-FBAA-C8C6-D974-B13800575E81}"/>
          </ac:grpSpMkLst>
        </pc:grpChg>
        <pc:grpChg chg="add mod">
          <ac:chgData name="Zabolotna, Kateryna" userId="724a1d14-7a1d-4ba3-a47b-ab98eba40d1a" providerId="ADAL" clId="{42FF804E-5648-4342-A39E-C38A6C181F7D}" dt="2022-07-27T20:44:20.529" v="2019"/>
          <ac:grpSpMkLst>
            <pc:docMk/>
            <pc:sldMk cId="1978425422" sldId="2147471540"/>
            <ac:grpSpMk id="16" creationId="{56019E4B-D18C-84B3-A06D-5B2C6C10F621}"/>
          </ac:grpSpMkLst>
        </pc:grpChg>
        <pc:grpChg chg="add mod">
          <ac:chgData name="Zabolotna, Kateryna" userId="724a1d14-7a1d-4ba3-a47b-ab98eba40d1a" providerId="ADAL" clId="{42FF804E-5648-4342-A39E-C38A6C181F7D}" dt="2022-07-27T20:44:20.529" v="2019"/>
          <ac:grpSpMkLst>
            <pc:docMk/>
            <pc:sldMk cId="1978425422" sldId="2147471540"/>
            <ac:grpSpMk id="19" creationId="{73A62C02-24CD-D4F0-5314-879F05FBED09}"/>
          </ac:grpSpMkLst>
        </pc:grpChg>
        <pc:picChg chg="mod">
          <ac:chgData name="Zabolotna, Kateryna" userId="724a1d14-7a1d-4ba3-a47b-ab98eba40d1a" providerId="ADAL" clId="{42FF804E-5648-4342-A39E-C38A6C181F7D}" dt="2022-07-27T20:44:03.985" v="2018"/>
          <ac:picMkLst>
            <pc:docMk/>
            <pc:sldMk cId="1978425422" sldId="2147471540"/>
            <ac:picMk id="4" creationId="{7D645953-57FF-5AFA-84CA-C0C2D345228C}"/>
          </ac:picMkLst>
        </pc:picChg>
        <pc:picChg chg="mod">
          <ac:chgData name="Zabolotna, Kateryna" userId="724a1d14-7a1d-4ba3-a47b-ab98eba40d1a" providerId="ADAL" clId="{42FF804E-5648-4342-A39E-C38A6C181F7D}" dt="2022-07-27T20:44:03.985" v="2018"/>
          <ac:picMkLst>
            <pc:docMk/>
            <pc:sldMk cId="1978425422" sldId="2147471540"/>
            <ac:picMk id="8" creationId="{E983B04A-A327-12F4-C03D-7129606F86FB}"/>
          </ac:picMkLst>
        </pc:picChg>
        <pc:picChg chg="mod">
          <ac:chgData name="Zabolotna, Kateryna" userId="724a1d14-7a1d-4ba3-a47b-ab98eba40d1a" providerId="ADAL" clId="{42FF804E-5648-4342-A39E-C38A6C181F7D}" dt="2022-07-27T20:44:03.985" v="2018"/>
          <ac:picMkLst>
            <pc:docMk/>
            <pc:sldMk cId="1978425422" sldId="2147471540"/>
            <ac:picMk id="12" creationId="{4A43D4B1-1591-4637-792C-E95879B35754}"/>
          </ac:picMkLst>
        </pc:picChg>
        <pc:picChg chg="mod">
          <ac:chgData name="Zabolotna, Kateryna" userId="724a1d14-7a1d-4ba3-a47b-ab98eba40d1a" providerId="ADAL" clId="{42FF804E-5648-4342-A39E-C38A6C181F7D}" dt="2022-07-27T20:44:03.985" v="2018"/>
          <ac:picMkLst>
            <pc:docMk/>
            <pc:sldMk cId="1978425422" sldId="2147471540"/>
            <ac:picMk id="13" creationId="{90858F38-4EC9-7E79-3E47-128D16171BEB}"/>
          </ac:picMkLst>
        </pc:picChg>
        <pc:picChg chg="mod">
          <ac:chgData name="Zabolotna, Kateryna" userId="724a1d14-7a1d-4ba3-a47b-ab98eba40d1a" providerId="ADAL" clId="{42FF804E-5648-4342-A39E-C38A6C181F7D}" dt="2022-07-27T20:44:03.985" v="2018"/>
          <ac:picMkLst>
            <pc:docMk/>
            <pc:sldMk cId="1978425422" sldId="2147471540"/>
            <ac:picMk id="14" creationId="{2BDC8D31-29F4-803F-DAFA-E37FB31843A7}"/>
          </ac:picMkLst>
        </pc:picChg>
        <pc:picChg chg="mod">
          <ac:chgData name="Zabolotna, Kateryna" userId="724a1d14-7a1d-4ba3-a47b-ab98eba40d1a" providerId="ADAL" clId="{42FF804E-5648-4342-A39E-C38A6C181F7D}" dt="2022-07-27T20:44:20.529" v="2019"/>
          <ac:picMkLst>
            <pc:docMk/>
            <pc:sldMk cId="1978425422" sldId="2147471540"/>
            <ac:picMk id="17" creationId="{C0B0D701-48FE-923E-70A4-242565311F3F}"/>
          </ac:picMkLst>
        </pc:picChg>
        <pc:picChg chg="mod">
          <ac:chgData name="Zabolotna, Kateryna" userId="724a1d14-7a1d-4ba3-a47b-ab98eba40d1a" providerId="ADAL" clId="{42FF804E-5648-4342-A39E-C38A6C181F7D}" dt="2022-07-27T20:44:20.529" v="2019"/>
          <ac:picMkLst>
            <pc:docMk/>
            <pc:sldMk cId="1978425422" sldId="2147471540"/>
            <ac:picMk id="20" creationId="{4553EBF0-0FF4-521C-E4DD-CD2E64F2934F}"/>
          </ac:picMkLst>
        </pc:picChg>
        <pc:cxnChg chg="add mod">
          <ac:chgData name="Zabolotna, Kateryna" userId="724a1d14-7a1d-4ba3-a47b-ab98eba40d1a" providerId="ADAL" clId="{42FF804E-5648-4342-A39E-C38A6C181F7D}" dt="2022-07-27T20:44:03.985" v="2018"/>
          <ac:cxnSpMkLst>
            <pc:docMk/>
            <pc:sldMk cId="1978425422" sldId="2147471540"/>
            <ac:cxnSpMk id="6" creationId="{54118F6F-D3F0-1A84-0155-4C788FD686E3}"/>
          </ac:cxnSpMkLst>
        </pc:cxnChg>
        <pc:cxnChg chg="add mod">
          <ac:chgData name="Zabolotna, Kateryna" userId="724a1d14-7a1d-4ba3-a47b-ab98eba40d1a" providerId="ADAL" clId="{42FF804E-5648-4342-A39E-C38A6C181F7D}" dt="2022-07-27T20:44:20.529" v="2019"/>
          <ac:cxnSpMkLst>
            <pc:docMk/>
            <pc:sldMk cId="1978425422" sldId="2147471540"/>
            <ac:cxnSpMk id="15" creationId="{32F3D06E-BF7D-42CA-C774-907177E47B07}"/>
          </ac:cxnSpMkLst>
        </pc:cxnChg>
      </pc:sldChg>
      <pc:sldChg chg="new del">
        <pc:chgData name="Zabolotna, Kateryna" userId="724a1d14-7a1d-4ba3-a47b-ab98eba40d1a" providerId="ADAL" clId="{42FF804E-5648-4342-A39E-C38A6C181F7D}" dt="2022-07-27T21:22:33.470" v="2700" actId="2696"/>
        <pc:sldMkLst>
          <pc:docMk/>
          <pc:sldMk cId="554562357" sldId="2147471541"/>
        </pc:sldMkLst>
      </pc:sldChg>
      <pc:sldChg chg="addSp delSp modSp new mod ord delAnim modAnim">
        <pc:chgData name="Zabolotna, Kateryna" userId="724a1d14-7a1d-4ba3-a47b-ab98eba40d1a" providerId="ADAL" clId="{42FF804E-5648-4342-A39E-C38A6C181F7D}" dt="2022-07-27T21:22:36.749" v="2701" actId="20578"/>
        <pc:sldMkLst>
          <pc:docMk/>
          <pc:sldMk cId="3125849492" sldId="2147471542"/>
        </pc:sldMkLst>
        <pc:spChg chg="mod">
          <ac:chgData name="Zabolotna, Kateryna" userId="724a1d14-7a1d-4ba3-a47b-ab98eba40d1a" providerId="ADAL" clId="{42FF804E-5648-4342-A39E-C38A6C181F7D}" dt="2022-07-27T20:55:37.658" v="2063" actId="20577"/>
          <ac:spMkLst>
            <pc:docMk/>
            <pc:sldMk cId="3125849492" sldId="2147471542"/>
            <ac:spMk id="16" creationId="{0C5B8984-B866-D231-AC2C-F522FC4673A5}"/>
          </ac:spMkLst>
        </pc:spChg>
        <pc:spChg chg="mod">
          <ac:chgData name="Zabolotna, Kateryna" userId="724a1d14-7a1d-4ba3-a47b-ab98eba40d1a" providerId="ADAL" clId="{42FF804E-5648-4342-A39E-C38A6C181F7D}" dt="2022-07-27T20:55:42.149" v="2064"/>
          <ac:spMkLst>
            <pc:docMk/>
            <pc:sldMk cId="3125849492" sldId="2147471542"/>
            <ac:spMk id="19" creationId="{08806C63-5600-FDAE-29FD-898C1BF3DC1F}"/>
          </ac:spMkLst>
        </pc:spChg>
        <pc:spChg chg="add mod">
          <ac:chgData name="Zabolotna, Kateryna" userId="724a1d14-7a1d-4ba3-a47b-ab98eba40d1a" providerId="ADAL" clId="{42FF804E-5648-4342-A39E-C38A6C181F7D}" dt="2022-07-27T20:56:09.566" v="2074" actId="20577"/>
          <ac:spMkLst>
            <pc:docMk/>
            <pc:sldMk cId="3125849492" sldId="2147471542"/>
            <ac:spMk id="20" creationId="{4AC21A9F-E299-858F-D747-504B9E32F303}"/>
          </ac:spMkLst>
        </pc:spChg>
        <pc:spChg chg="add mod">
          <ac:chgData name="Zabolotna, Kateryna" userId="724a1d14-7a1d-4ba3-a47b-ab98eba40d1a" providerId="ADAL" clId="{42FF804E-5648-4342-A39E-C38A6C181F7D}" dt="2022-07-27T21:00:13.519" v="2209" actId="14100"/>
          <ac:spMkLst>
            <pc:docMk/>
            <pc:sldMk cId="3125849492" sldId="2147471542"/>
            <ac:spMk id="21" creationId="{C3DC657E-24A1-3983-F9F8-7D96BA749138}"/>
          </ac:spMkLst>
        </pc:spChg>
        <pc:spChg chg="add mod">
          <ac:chgData name="Zabolotna, Kateryna" userId="724a1d14-7a1d-4ba3-a47b-ab98eba40d1a" providerId="ADAL" clId="{42FF804E-5648-4342-A39E-C38A6C181F7D}" dt="2022-07-27T20:57:16.081" v="2132" actId="20577"/>
          <ac:spMkLst>
            <pc:docMk/>
            <pc:sldMk cId="3125849492" sldId="2147471542"/>
            <ac:spMk id="22" creationId="{5CD47F29-FED4-70EB-DC8F-E2AC9315338E}"/>
          </ac:spMkLst>
        </pc:spChg>
        <pc:spChg chg="add mod">
          <ac:chgData name="Zabolotna, Kateryna" userId="724a1d14-7a1d-4ba3-a47b-ab98eba40d1a" providerId="ADAL" clId="{42FF804E-5648-4342-A39E-C38A6C181F7D}" dt="2022-07-27T20:59:32.603" v="2178" actId="20577"/>
          <ac:spMkLst>
            <pc:docMk/>
            <pc:sldMk cId="3125849492" sldId="2147471542"/>
            <ac:spMk id="24" creationId="{C2330403-69DC-F653-9D9F-19E9475CED71}"/>
          </ac:spMkLst>
        </pc:spChg>
        <pc:spChg chg="add mod">
          <ac:chgData name="Zabolotna, Kateryna" userId="724a1d14-7a1d-4ba3-a47b-ab98eba40d1a" providerId="ADAL" clId="{42FF804E-5648-4342-A39E-C38A6C181F7D}" dt="2022-07-27T20:59:35.192" v="2179" actId="20577"/>
          <ac:spMkLst>
            <pc:docMk/>
            <pc:sldMk cId="3125849492" sldId="2147471542"/>
            <ac:spMk id="25" creationId="{61E995EB-6499-85D1-A84F-745373C59431}"/>
          </ac:spMkLst>
        </pc:spChg>
        <pc:spChg chg="add mod">
          <ac:chgData name="Zabolotna, Kateryna" userId="724a1d14-7a1d-4ba3-a47b-ab98eba40d1a" providerId="ADAL" clId="{42FF804E-5648-4342-A39E-C38A6C181F7D}" dt="2022-07-27T20:59:52.246" v="2186" actId="14100"/>
          <ac:spMkLst>
            <pc:docMk/>
            <pc:sldMk cId="3125849492" sldId="2147471542"/>
            <ac:spMk id="26" creationId="{C116692D-377C-DB52-E284-045CB615E210}"/>
          </ac:spMkLst>
        </pc:spChg>
        <pc:grpChg chg="add mod">
          <ac:chgData name="Zabolotna, Kateryna" userId="724a1d14-7a1d-4ba3-a47b-ab98eba40d1a" providerId="ADAL" clId="{42FF804E-5648-4342-A39E-C38A6C181F7D}" dt="2022-07-27T20:55:24.179" v="2053" actId="1076"/>
          <ac:grpSpMkLst>
            <pc:docMk/>
            <pc:sldMk cId="3125849492" sldId="2147471542"/>
            <ac:grpSpMk id="2" creationId="{E5166884-3C15-9D68-AF27-517415980AC6}"/>
          </ac:grpSpMkLst>
        </pc:grpChg>
        <pc:grpChg chg="add mod">
          <ac:chgData name="Zabolotna, Kateryna" userId="724a1d14-7a1d-4ba3-a47b-ab98eba40d1a" providerId="ADAL" clId="{42FF804E-5648-4342-A39E-C38A6C181F7D}" dt="2022-07-27T20:54:26.154" v="2042" actId="1076"/>
          <ac:grpSpMkLst>
            <pc:docMk/>
            <pc:sldMk cId="3125849492" sldId="2147471542"/>
            <ac:grpSpMk id="13" creationId="{AB005E33-EB3D-F493-8ABF-2BC45EF83010}"/>
          </ac:grpSpMkLst>
        </pc:grpChg>
        <pc:grpChg chg="add mod">
          <ac:chgData name="Zabolotna, Kateryna" userId="724a1d14-7a1d-4ba3-a47b-ab98eba40d1a" providerId="ADAL" clId="{42FF804E-5648-4342-A39E-C38A6C181F7D}" dt="2022-07-27T20:55:28.596" v="2054" actId="1076"/>
          <ac:grpSpMkLst>
            <pc:docMk/>
            <pc:sldMk cId="3125849492" sldId="2147471542"/>
            <ac:grpSpMk id="14" creationId="{CC3D5243-A87F-B7DF-C901-27D7498BC83D}"/>
          </ac:grpSpMkLst>
        </pc:grpChg>
        <pc:grpChg chg="add del mod">
          <ac:chgData name="Zabolotna, Kateryna" userId="724a1d14-7a1d-4ba3-a47b-ab98eba40d1a" providerId="ADAL" clId="{42FF804E-5648-4342-A39E-C38A6C181F7D}" dt="2022-07-27T20:55:43.683" v="2065" actId="478"/>
          <ac:grpSpMkLst>
            <pc:docMk/>
            <pc:sldMk cId="3125849492" sldId="2147471542"/>
            <ac:grpSpMk id="17" creationId="{D740F012-1CAB-C7DF-365B-016CF30FECC9}"/>
          </ac:grpSpMkLst>
        </pc:grpChg>
        <pc:grpChg chg="add mod">
          <ac:chgData name="Zabolotna, Kateryna" userId="724a1d14-7a1d-4ba3-a47b-ab98eba40d1a" providerId="ADAL" clId="{42FF804E-5648-4342-A39E-C38A6C181F7D}" dt="2022-07-27T21:02:23.084" v="2215" actId="1076"/>
          <ac:grpSpMkLst>
            <pc:docMk/>
            <pc:sldMk cId="3125849492" sldId="2147471542"/>
            <ac:grpSpMk id="27" creationId="{60963853-C91B-268F-1394-0E48453942A8}"/>
          </ac:grpSpMkLst>
        </pc:grpChg>
        <pc:picChg chg="mod">
          <ac:chgData name="Zabolotna, Kateryna" userId="724a1d14-7a1d-4ba3-a47b-ab98eba40d1a" providerId="ADAL" clId="{42FF804E-5648-4342-A39E-C38A6C181F7D}" dt="2022-07-27T20:46:14.877" v="2022"/>
          <ac:picMkLst>
            <pc:docMk/>
            <pc:sldMk cId="3125849492" sldId="2147471542"/>
            <ac:picMk id="3" creationId="{84BF43EF-E67E-EABF-1906-E437BB0F8D9F}"/>
          </ac:picMkLst>
        </pc:picChg>
        <pc:picChg chg="mod">
          <ac:chgData name="Zabolotna, Kateryna" userId="724a1d14-7a1d-4ba3-a47b-ab98eba40d1a" providerId="ADAL" clId="{42FF804E-5648-4342-A39E-C38A6C181F7D}" dt="2022-07-27T20:46:14.877" v="2022"/>
          <ac:picMkLst>
            <pc:docMk/>
            <pc:sldMk cId="3125849492" sldId="2147471542"/>
            <ac:picMk id="4" creationId="{09127A92-6239-0A40-1488-683812054E0F}"/>
          </ac:picMkLst>
        </pc:picChg>
        <pc:picChg chg="add mod">
          <ac:chgData name="Zabolotna, Kateryna" userId="724a1d14-7a1d-4ba3-a47b-ab98eba40d1a" providerId="ADAL" clId="{42FF804E-5648-4342-A39E-C38A6C181F7D}" dt="2022-07-27T20:55:17.733" v="2050" actId="1076"/>
          <ac:picMkLst>
            <pc:docMk/>
            <pc:sldMk cId="3125849492" sldId="2147471542"/>
            <ac:picMk id="5" creationId="{6B76BB2B-703C-5374-FF7F-867664AEF4A2}"/>
          </ac:picMkLst>
        </pc:picChg>
        <pc:picChg chg="add mod">
          <ac:chgData name="Zabolotna, Kateryna" userId="724a1d14-7a1d-4ba3-a47b-ab98eba40d1a" providerId="ADAL" clId="{42FF804E-5648-4342-A39E-C38A6C181F7D}" dt="2022-07-27T20:55:14.655" v="2049" actId="1076"/>
          <ac:picMkLst>
            <pc:docMk/>
            <pc:sldMk cId="3125849492" sldId="2147471542"/>
            <ac:picMk id="6" creationId="{E5A989FA-72D6-8BBE-0958-EE2835B7EBAB}"/>
          </ac:picMkLst>
        </pc:picChg>
        <pc:picChg chg="add mod">
          <ac:chgData name="Zabolotna, Kateryna" userId="724a1d14-7a1d-4ba3-a47b-ab98eba40d1a" providerId="ADAL" clId="{42FF804E-5648-4342-A39E-C38A6C181F7D}" dt="2022-07-27T20:55:12.032" v="2048" actId="1076"/>
          <ac:picMkLst>
            <pc:docMk/>
            <pc:sldMk cId="3125849492" sldId="2147471542"/>
            <ac:picMk id="7" creationId="{593DE4B7-C184-3FDC-150B-757A1A69A231}"/>
          </ac:picMkLst>
        </pc:picChg>
        <pc:picChg chg="add mod">
          <ac:chgData name="Zabolotna, Kateryna" userId="724a1d14-7a1d-4ba3-a47b-ab98eba40d1a" providerId="ADAL" clId="{42FF804E-5648-4342-A39E-C38A6C181F7D}" dt="2022-07-27T20:54:04.709" v="2038" actId="14100"/>
          <ac:picMkLst>
            <pc:docMk/>
            <pc:sldMk cId="3125849492" sldId="2147471542"/>
            <ac:picMk id="8" creationId="{E4294FB0-AA7B-E1EF-3518-B73EEBE0FE9B}"/>
          </ac:picMkLst>
        </pc:picChg>
        <pc:picChg chg="add mod">
          <ac:chgData name="Zabolotna, Kateryna" userId="724a1d14-7a1d-4ba3-a47b-ab98eba40d1a" providerId="ADAL" clId="{42FF804E-5648-4342-A39E-C38A6C181F7D}" dt="2022-07-27T20:54:04.709" v="2038" actId="14100"/>
          <ac:picMkLst>
            <pc:docMk/>
            <pc:sldMk cId="3125849492" sldId="2147471542"/>
            <ac:picMk id="9" creationId="{629ACA4A-7117-368B-52CE-B5B11EC02F83}"/>
          </ac:picMkLst>
        </pc:picChg>
        <pc:picChg chg="add mod">
          <ac:chgData name="Zabolotna, Kateryna" userId="724a1d14-7a1d-4ba3-a47b-ab98eba40d1a" providerId="ADAL" clId="{42FF804E-5648-4342-A39E-C38A6C181F7D}" dt="2022-07-27T20:54:04.709" v="2038" actId="14100"/>
          <ac:picMkLst>
            <pc:docMk/>
            <pc:sldMk cId="3125849492" sldId="2147471542"/>
            <ac:picMk id="10" creationId="{1500F2E0-65C4-FCCF-638B-7F5E02ECE5BA}"/>
          </ac:picMkLst>
        </pc:picChg>
        <pc:picChg chg="add mod">
          <ac:chgData name="Zabolotna, Kateryna" userId="724a1d14-7a1d-4ba3-a47b-ab98eba40d1a" providerId="ADAL" clId="{42FF804E-5648-4342-A39E-C38A6C181F7D}" dt="2022-07-27T20:54:04.709" v="2038" actId="14100"/>
          <ac:picMkLst>
            <pc:docMk/>
            <pc:sldMk cId="3125849492" sldId="2147471542"/>
            <ac:picMk id="11" creationId="{4D355390-4978-DAED-8810-80D059B2444F}"/>
          </ac:picMkLst>
        </pc:picChg>
        <pc:picChg chg="add mod">
          <ac:chgData name="Zabolotna, Kateryna" userId="724a1d14-7a1d-4ba3-a47b-ab98eba40d1a" providerId="ADAL" clId="{42FF804E-5648-4342-A39E-C38A6C181F7D}" dt="2022-07-27T20:54:08.631" v="2040" actId="1076"/>
          <ac:picMkLst>
            <pc:docMk/>
            <pc:sldMk cId="3125849492" sldId="2147471542"/>
            <ac:picMk id="12" creationId="{551B068C-5F55-A16F-2ACC-33EEF840024A}"/>
          </ac:picMkLst>
        </pc:picChg>
        <pc:picChg chg="mod">
          <ac:chgData name="Zabolotna, Kateryna" userId="724a1d14-7a1d-4ba3-a47b-ab98eba40d1a" providerId="ADAL" clId="{42FF804E-5648-4342-A39E-C38A6C181F7D}" dt="2022-07-27T20:54:53.105" v="2043"/>
          <ac:picMkLst>
            <pc:docMk/>
            <pc:sldMk cId="3125849492" sldId="2147471542"/>
            <ac:picMk id="15" creationId="{FB05BA2D-FFA3-7EDC-FDCD-2D871827E548}"/>
          </ac:picMkLst>
        </pc:picChg>
        <pc:picChg chg="mod">
          <ac:chgData name="Zabolotna, Kateryna" userId="724a1d14-7a1d-4ba3-a47b-ab98eba40d1a" providerId="ADAL" clId="{42FF804E-5648-4342-A39E-C38A6C181F7D}" dt="2022-07-27T20:55:42.149" v="2064"/>
          <ac:picMkLst>
            <pc:docMk/>
            <pc:sldMk cId="3125849492" sldId="2147471542"/>
            <ac:picMk id="18" creationId="{DC21CCCA-8557-D221-8F42-B16434946DFC}"/>
          </ac:picMkLst>
        </pc:picChg>
        <pc:picChg chg="add del mod">
          <ac:chgData name="Zabolotna, Kateryna" userId="724a1d14-7a1d-4ba3-a47b-ab98eba40d1a" providerId="ADAL" clId="{42FF804E-5648-4342-A39E-C38A6C181F7D}" dt="2022-07-27T20:57:52.194" v="2135" actId="478"/>
          <ac:picMkLst>
            <pc:docMk/>
            <pc:sldMk cId="3125849492" sldId="2147471542"/>
            <ac:picMk id="23" creationId="{B39B08A3-A237-94F6-DD77-097DBC367BA4}"/>
          </ac:picMkLst>
        </pc:picChg>
        <pc:picChg chg="mod">
          <ac:chgData name="Zabolotna, Kateryna" userId="724a1d14-7a1d-4ba3-a47b-ab98eba40d1a" providerId="ADAL" clId="{42FF804E-5648-4342-A39E-C38A6C181F7D}" dt="2022-07-27T21:02:12.085" v="2213"/>
          <ac:picMkLst>
            <pc:docMk/>
            <pc:sldMk cId="3125849492" sldId="2147471542"/>
            <ac:picMk id="28" creationId="{77F6558B-F886-CB27-9A78-1422E00F2526}"/>
          </ac:picMkLst>
        </pc:picChg>
        <pc:picChg chg="mod">
          <ac:chgData name="Zabolotna, Kateryna" userId="724a1d14-7a1d-4ba3-a47b-ab98eba40d1a" providerId="ADAL" clId="{42FF804E-5648-4342-A39E-C38A6C181F7D}" dt="2022-07-27T21:02:12.085" v="2213"/>
          <ac:picMkLst>
            <pc:docMk/>
            <pc:sldMk cId="3125849492" sldId="2147471542"/>
            <ac:picMk id="29" creationId="{74DFCCFA-52CD-90B2-387A-4CC2738BAE90}"/>
          </ac:picMkLst>
        </pc:picChg>
      </pc:sldChg>
      <pc:sldChg chg="addSp delSp modSp add mod modTransition">
        <pc:chgData name="Zabolotna, Kateryna" userId="724a1d14-7a1d-4ba3-a47b-ab98eba40d1a" providerId="ADAL" clId="{42FF804E-5648-4342-A39E-C38A6C181F7D}" dt="2022-07-28T07:44:54.492" v="3087" actId="14100"/>
        <pc:sldMkLst>
          <pc:docMk/>
          <pc:sldMk cId="1030681138" sldId="2147471543"/>
        </pc:sldMkLst>
        <pc:spChg chg="mod">
          <ac:chgData name="Zabolotna, Kateryna" userId="724a1d14-7a1d-4ba3-a47b-ab98eba40d1a" providerId="ADAL" clId="{42FF804E-5648-4342-A39E-C38A6C181F7D}" dt="2022-07-28T07:39:02.003" v="2990"/>
          <ac:spMkLst>
            <pc:docMk/>
            <pc:sldMk cId="1030681138" sldId="2147471543"/>
            <ac:spMk id="2" creationId="{00000000-0000-0000-0000-000000000000}"/>
          </ac:spMkLst>
        </pc:spChg>
        <pc:spChg chg="mod">
          <ac:chgData name="Zabolotna, Kateryna" userId="724a1d14-7a1d-4ba3-a47b-ab98eba40d1a" providerId="ADAL" clId="{42FF804E-5648-4342-A39E-C38A6C181F7D}" dt="2022-07-28T07:44:54.492" v="3087" actId="14100"/>
          <ac:spMkLst>
            <pc:docMk/>
            <pc:sldMk cId="1030681138" sldId="2147471543"/>
            <ac:spMk id="15" creationId="{FE7A4CD3-A0A8-1747-AED1-8790ECB203C8}"/>
          </ac:spMkLst>
        </pc:spChg>
        <pc:spChg chg="mod">
          <ac:chgData name="Zabolotna, Kateryna" userId="724a1d14-7a1d-4ba3-a47b-ab98eba40d1a" providerId="ADAL" clId="{42FF804E-5648-4342-A39E-C38A6C181F7D}" dt="2022-07-28T07:44:54.492" v="3087" actId="14100"/>
          <ac:spMkLst>
            <pc:docMk/>
            <pc:sldMk cId="1030681138" sldId="2147471543"/>
            <ac:spMk id="16" creationId="{428928F5-E788-A84C-8061-8D62614FB57C}"/>
          </ac:spMkLst>
        </pc:spChg>
        <pc:spChg chg="del">
          <ac:chgData name="Zabolotna, Kateryna" userId="724a1d14-7a1d-4ba3-a47b-ab98eba40d1a" providerId="ADAL" clId="{42FF804E-5648-4342-A39E-C38A6C181F7D}" dt="2022-07-28T07:38:52.595" v="2989" actId="478"/>
          <ac:spMkLst>
            <pc:docMk/>
            <pc:sldMk cId="1030681138" sldId="2147471543"/>
            <ac:spMk id="17" creationId="{0F0D9F57-8DE3-2546-BAF3-1A17AF7B760C}"/>
          </ac:spMkLst>
        </pc:spChg>
        <pc:spChg chg="mod">
          <ac:chgData name="Zabolotna, Kateryna" userId="724a1d14-7a1d-4ba3-a47b-ab98eba40d1a" providerId="ADAL" clId="{42FF804E-5648-4342-A39E-C38A6C181F7D}" dt="2022-07-28T07:44:54.492" v="3087" actId="14100"/>
          <ac:spMkLst>
            <pc:docMk/>
            <pc:sldMk cId="1030681138" sldId="2147471543"/>
            <ac:spMk id="21" creationId="{310F2846-9422-468D-941E-AE95ED82A256}"/>
          </ac:spMkLst>
        </pc:spChg>
        <pc:picChg chg="add mod modCrop">
          <ac:chgData name="Zabolotna, Kateryna" userId="724a1d14-7a1d-4ba3-a47b-ab98eba40d1a" providerId="ADAL" clId="{42FF804E-5648-4342-A39E-C38A6C181F7D}" dt="2022-07-28T07:43:57.677" v="3074" actId="14100"/>
          <ac:picMkLst>
            <pc:docMk/>
            <pc:sldMk cId="1030681138" sldId="2147471543"/>
            <ac:picMk id="5" creationId="{29440A31-E114-12C4-C499-36DBD59FA389}"/>
          </ac:picMkLst>
        </pc:picChg>
        <pc:picChg chg="add mod modCrop">
          <ac:chgData name="Zabolotna, Kateryna" userId="724a1d14-7a1d-4ba3-a47b-ab98eba40d1a" providerId="ADAL" clId="{42FF804E-5648-4342-A39E-C38A6C181F7D}" dt="2022-07-28T07:44:04.580" v="3076" actId="14100"/>
          <ac:picMkLst>
            <pc:docMk/>
            <pc:sldMk cId="1030681138" sldId="2147471543"/>
            <ac:picMk id="6" creationId="{1A8A3DE7-6847-138D-1CF4-67ACAE87B3E3}"/>
          </ac:picMkLst>
        </pc:picChg>
        <pc:picChg chg="add mod modCrop">
          <ac:chgData name="Zabolotna, Kateryna" userId="724a1d14-7a1d-4ba3-a47b-ab98eba40d1a" providerId="ADAL" clId="{42FF804E-5648-4342-A39E-C38A6C181F7D}" dt="2022-07-28T07:44:10.272" v="3078" actId="14100"/>
          <ac:picMkLst>
            <pc:docMk/>
            <pc:sldMk cId="1030681138" sldId="2147471543"/>
            <ac:picMk id="7" creationId="{1C11574D-6B34-787C-95FD-15F6393A328F}"/>
          </ac:picMkLst>
        </pc:picChg>
        <pc:picChg chg="mod">
          <ac:chgData name="Zabolotna, Kateryna" userId="724a1d14-7a1d-4ba3-a47b-ab98eba40d1a" providerId="ADAL" clId="{42FF804E-5648-4342-A39E-C38A6C181F7D}" dt="2022-07-28T07:39:41.025" v="2993" actId="1076"/>
          <ac:picMkLst>
            <pc:docMk/>
            <pc:sldMk cId="1030681138" sldId="2147471543"/>
            <ac:picMk id="13" creationId="{7AD47089-E960-0C4F-9ACC-E4AC4EE32E89}"/>
          </ac:picMkLst>
        </pc:picChg>
        <pc:picChg chg="del">
          <ac:chgData name="Zabolotna, Kateryna" userId="724a1d14-7a1d-4ba3-a47b-ab98eba40d1a" providerId="ADAL" clId="{42FF804E-5648-4342-A39E-C38A6C181F7D}" dt="2022-07-28T07:38:52.595" v="2989" actId="478"/>
          <ac:picMkLst>
            <pc:docMk/>
            <pc:sldMk cId="1030681138" sldId="2147471543"/>
            <ac:picMk id="14" creationId="{3F930D18-CC7D-544B-B743-27DB5A67657E}"/>
          </ac:picMkLst>
        </pc:picChg>
        <pc:picChg chg="mod">
          <ac:chgData name="Zabolotna, Kateryna" userId="724a1d14-7a1d-4ba3-a47b-ab98eba40d1a" providerId="ADAL" clId="{42FF804E-5648-4342-A39E-C38A6C181F7D}" dt="2022-07-28T07:39:35.287" v="2992" actId="1076"/>
          <ac:picMkLst>
            <pc:docMk/>
            <pc:sldMk cId="1030681138" sldId="2147471543"/>
            <ac:picMk id="18" creationId="{586AC8CC-0170-1040-B9AA-119BFECD747A}"/>
          </ac:picMkLst>
        </pc:picChg>
        <pc:picChg chg="mod">
          <ac:chgData name="Zabolotna, Kateryna" userId="724a1d14-7a1d-4ba3-a47b-ab98eba40d1a" providerId="ADAL" clId="{42FF804E-5648-4342-A39E-C38A6C181F7D}" dt="2022-07-28T07:39:46.411" v="2994" actId="1076"/>
          <ac:picMkLst>
            <pc:docMk/>
            <pc:sldMk cId="1030681138" sldId="2147471543"/>
            <ac:picMk id="27" creationId="{B612EB64-1770-8B47-AC39-08304D1DD344}"/>
          </ac:picMkLst>
        </pc:picChg>
      </pc:sldChg>
      <pc:sldChg chg="addSp modSp add del mod modShow">
        <pc:chgData name="Zabolotna, Kateryna" userId="724a1d14-7a1d-4ba3-a47b-ab98eba40d1a" providerId="ADAL" clId="{42FF804E-5648-4342-A39E-C38A6C181F7D}" dt="2022-07-28T08:18:44.388" v="3346" actId="2696"/>
        <pc:sldMkLst>
          <pc:docMk/>
          <pc:sldMk cId="1609868766" sldId="2147471544"/>
        </pc:sldMkLst>
        <pc:spChg chg="add mod">
          <ac:chgData name="Zabolotna, Kateryna" userId="724a1d14-7a1d-4ba3-a47b-ab98eba40d1a" providerId="ADAL" clId="{42FF804E-5648-4342-A39E-C38A6C181F7D}" dt="2022-07-28T07:50:41.295" v="3171" actId="688"/>
          <ac:spMkLst>
            <pc:docMk/>
            <pc:sldMk cId="1609868766" sldId="2147471544"/>
            <ac:spMk id="3" creationId="{A9FDBC54-0F53-17AA-E953-64EB96F00E4C}"/>
          </ac:spMkLst>
        </pc:spChg>
        <pc:spChg chg="add mod">
          <ac:chgData name="Zabolotna, Kateryna" userId="724a1d14-7a1d-4ba3-a47b-ab98eba40d1a" providerId="ADAL" clId="{42FF804E-5648-4342-A39E-C38A6C181F7D}" dt="2022-07-28T07:53:05.395" v="3189" actId="207"/>
          <ac:spMkLst>
            <pc:docMk/>
            <pc:sldMk cId="1609868766" sldId="2147471544"/>
            <ac:spMk id="6" creationId="{8A09C309-1EB2-A72F-F9A9-BCB7F85F0A9B}"/>
          </ac:spMkLst>
        </pc:spChg>
        <pc:spChg chg="add mod">
          <ac:chgData name="Zabolotna, Kateryna" userId="724a1d14-7a1d-4ba3-a47b-ab98eba40d1a" providerId="ADAL" clId="{42FF804E-5648-4342-A39E-C38A6C181F7D}" dt="2022-07-28T07:53:05.395" v="3189" actId="207"/>
          <ac:spMkLst>
            <pc:docMk/>
            <pc:sldMk cId="1609868766" sldId="2147471544"/>
            <ac:spMk id="7" creationId="{3E1B5528-8FB3-39D6-3A32-27A99C41D905}"/>
          </ac:spMkLst>
        </pc:spChg>
        <pc:spChg chg="add mod">
          <ac:chgData name="Zabolotna, Kateryna" userId="724a1d14-7a1d-4ba3-a47b-ab98eba40d1a" providerId="ADAL" clId="{42FF804E-5648-4342-A39E-C38A6C181F7D}" dt="2022-07-28T07:53:05.395" v="3189" actId="207"/>
          <ac:spMkLst>
            <pc:docMk/>
            <pc:sldMk cId="1609868766" sldId="2147471544"/>
            <ac:spMk id="8" creationId="{C135EAD3-994E-0A70-7DC4-B56FEAF324BA}"/>
          </ac:spMkLst>
        </pc:spChg>
        <pc:spChg chg="add mod">
          <ac:chgData name="Zabolotna, Kateryna" userId="724a1d14-7a1d-4ba3-a47b-ab98eba40d1a" providerId="ADAL" clId="{42FF804E-5648-4342-A39E-C38A6C181F7D}" dt="2022-07-28T07:53:05.395" v="3189" actId="207"/>
          <ac:spMkLst>
            <pc:docMk/>
            <pc:sldMk cId="1609868766" sldId="2147471544"/>
            <ac:spMk id="9" creationId="{F96ED2EC-CB20-0CA1-5D76-69ED42AE2345}"/>
          </ac:spMkLst>
        </pc:spChg>
        <pc:spChg chg="mod">
          <ac:chgData name="Zabolotna, Kateryna" userId="724a1d14-7a1d-4ba3-a47b-ab98eba40d1a" providerId="ADAL" clId="{42FF804E-5648-4342-A39E-C38A6C181F7D}" dt="2022-07-28T07:50:34.466" v="3170" actId="1076"/>
          <ac:spMkLst>
            <pc:docMk/>
            <pc:sldMk cId="1609868766" sldId="2147471544"/>
            <ac:spMk id="14" creationId="{9F44E886-8FD1-4A25-BBBD-AAB51DA7EFE8}"/>
          </ac:spMkLst>
        </pc:spChg>
        <pc:spChg chg="mod">
          <ac:chgData name="Zabolotna, Kateryna" userId="724a1d14-7a1d-4ba3-a47b-ab98eba40d1a" providerId="ADAL" clId="{42FF804E-5648-4342-A39E-C38A6C181F7D}" dt="2022-07-28T07:51:47.135" v="3177" actId="14100"/>
          <ac:spMkLst>
            <pc:docMk/>
            <pc:sldMk cId="1609868766" sldId="2147471544"/>
            <ac:spMk id="48" creationId="{3DF48323-160B-485F-9856-DE53E1ECCC30}"/>
          </ac:spMkLst>
        </pc:spChg>
        <pc:spChg chg="mod">
          <ac:chgData name="Zabolotna, Kateryna" userId="724a1d14-7a1d-4ba3-a47b-ab98eba40d1a" providerId="ADAL" clId="{42FF804E-5648-4342-A39E-C38A6C181F7D}" dt="2022-07-28T07:52:21.640" v="3184" actId="1076"/>
          <ac:spMkLst>
            <pc:docMk/>
            <pc:sldMk cId="1609868766" sldId="2147471544"/>
            <ac:spMk id="49" creationId="{9BEF4A9C-A8B6-4CF0-AD95-FDB31EB439B5}"/>
          </ac:spMkLst>
        </pc:spChg>
        <pc:spChg chg="mod">
          <ac:chgData name="Zabolotna, Kateryna" userId="724a1d14-7a1d-4ba3-a47b-ab98eba40d1a" providerId="ADAL" clId="{42FF804E-5648-4342-A39E-C38A6C181F7D}" dt="2022-07-28T07:52:28.941" v="3185" actId="14100"/>
          <ac:spMkLst>
            <pc:docMk/>
            <pc:sldMk cId="1609868766" sldId="2147471544"/>
            <ac:spMk id="50" creationId="{B82DCA3F-31BC-4C72-93AA-030D795505D8}"/>
          </ac:spMkLst>
        </pc:spChg>
        <pc:spChg chg="mod">
          <ac:chgData name="Zabolotna, Kateryna" userId="724a1d14-7a1d-4ba3-a47b-ab98eba40d1a" providerId="ADAL" clId="{42FF804E-5648-4342-A39E-C38A6C181F7D}" dt="2022-07-28T07:51:40.690" v="3176" actId="1076"/>
          <ac:spMkLst>
            <pc:docMk/>
            <pc:sldMk cId="1609868766" sldId="2147471544"/>
            <ac:spMk id="52" creationId="{D1A694BB-818A-4245-AF6A-7398F5BC9418}"/>
          </ac:spMkLst>
        </pc:spChg>
        <pc:spChg chg="mod">
          <ac:chgData name="Zabolotna, Kateryna" userId="724a1d14-7a1d-4ba3-a47b-ab98eba40d1a" providerId="ADAL" clId="{42FF804E-5648-4342-A39E-C38A6C181F7D}" dt="2022-07-28T07:50:15.558" v="3165" actId="1076"/>
          <ac:spMkLst>
            <pc:docMk/>
            <pc:sldMk cId="1609868766" sldId="2147471544"/>
            <ac:spMk id="68" creationId="{4D69522A-2943-402D-813C-0D89E94C2D8E}"/>
          </ac:spMkLst>
        </pc:spChg>
        <pc:spChg chg="mod">
          <ac:chgData name="Zabolotna, Kateryna" userId="724a1d14-7a1d-4ba3-a47b-ab98eba40d1a" providerId="ADAL" clId="{42FF804E-5648-4342-A39E-C38A6C181F7D}" dt="2022-07-28T07:50:30.461" v="3169" actId="688"/>
          <ac:spMkLst>
            <pc:docMk/>
            <pc:sldMk cId="1609868766" sldId="2147471544"/>
            <ac:spMk id="69" creationId="{8571620A-5538-45DD-B0FB-C52763398F01}"/>
          </ac:spMkLst>
        </pc:spChg>
      </pc:sldChg>
      <pc:sldChg chg="modSp add mod">
        <pc:chgData name="Zabolotna, Kateryna" userId="724a1d14-7a1d-4ba3-a47b-ab98eba40d1a" providerId="ADAL" clId="{42FF804E-5648-4342-A39E-C38A6C181F7D}" dt="2022-07-28T08:17:57.923" v="3345" actId="20577"/>
        <pc:sldMkLst>
          <pc:docMk/>
          <pc:sldMk cId="2278438045" sldId="2147471545"/>
        </pc:sldMkLst>
        <pc:spChg chg="mod">
          <ac:chgData name="Zabolotna, Kateryna" userId="724a1d14-7a1d-4ba3-a47b-ab98eba40d1a" providerId="ADAL" clId="{42FF804E-5648-4342-A39E-C38A6C181F7D}" dt="2022-07-28T08:17:57.923" v="3345" actId="20577"/>
          <ac:spMkLst>
            <pc:docMk/>
            <pc:sldMk cId="2278438045" sldId="2147471545"/>
            <ac:spMk id="212" creationId="{D4FA8E16-228D-432C-9908-DC844523157E}"/>
          </ac:spMkLst>
        </pc:spChg>
      </pc:sldChg>
      <pc:sldChg chg="modSp add mod modTransition modShow">
        <pc:chgData name="Zabolotna, Kateryna" userId="724a1d14-7a1d-4ba3-a47b-ab98eba40d1a" providerId="ADAL" clId="{42FF804E-5648-4342-A39E-C38A6C181F7D}" dt="2022-08-05T10:04:49.161" v="3625" actId="1076"/>
        <pc:sldMkLst>
          <pc:docMk/>
          <pc:sldMk cId="4134489953" sldId="2147471546"/>
        </pc:sldMkLst>
        <pc:grpChg chg="mod">
          <ac:chgData name="Zabolotna, Kateryna" userId="724a1d14-7a1d-4ba3-a47b-ab98eba40d1a" providerId="ADAL" clId="{42FF804E-5648-4342-A39E-C38A6C181F7D}" dt="2022-08-05T10:04:49.161" v="3625" actId="1076"/>
          <ac:grpSpMkLst>
            <pc:docMk/>
            <pc:sldMk cId="4134489953" sldId="2147471546"/>
            <ac:grpSpMk id="43" creationId="{A6F59F45-3C08-4E68-B3E5-6A288F34F4D0}"/>
          </ac:grpSpMkLst>
        </pc:grpChg>
      </pc:sldChg>
      <pc:sldChg chg="add mod modTransition modShow">
        <pc:chgData name="Zabolotna, Kateryna" userId="724a1d14-7a1d-4ba3-a47b-ab98eba40d1a" providerId="ADAL" clId="{42FF804E-5648-4342-A39E-C38A6C181F7D}" dt="2022-08-05T09:30:48.326" v="3614" actId="729"/>
        <pc:sldMkLst>
          <pc:docMk/>
          <pc:sldMk cId="1319830884" sldId="2147471547"/>
        </pc:sldMkLst>
      </pc:sldChg>
      <pc:sldChg chg="delSp modSp add mod modTransition modShow">
        <pc:chgData name="Zabolotna, Kateryna" userId="724a1d14-7a1d-4ba3-a47b-ab98eba40d1a" providerId="ADAL" clId="{42FF804E-5648-4342-A39E-C38A6C181F7D}" dt="2022-08-05T13:58:53.973" v="4389" actId="1076"/>
        <pc:sldMkLst>
          <pc:docMk/>
          <pc:sldMk cId="4034841113" sldId="2147471548"/>
        </pc:sldMkLst>
        <pc:spChg chg="mod">
          <ac:chgData name="Zabolotna, Kateryna" userId="724a1d14-7a1d-4ba3-a47b-ab98eba40d1a" providerId="ADAL" clId="{42FF804E-5648-4342-A39E-C38A6C181F7D}" dt="2022-08-05T10:05:55.508" v="3710" actId="1076"/>
          <ac:spMkLst>
            <pc:docMk/>
            <pc:sldMk cId="4034841113" sldId="2147471548"/>
            <ac:spMk id="32" creationId="{00000000-0000-0000-0000-000000000000}"/>
          </ac:spMkLst>
        </pc:spChg>
        <pc:spChg chg="mod">
          <ac:chgData name="Zabolotna, Kateryna" userId="724a1d14-7a1d-4ba3-a47b-ab98eba40d1a" providerId="ADAL" clId="{42FF804E-5648-4342-A39E-C38A6C181F7D}" dt="2022-08-05T13:58:53.973" v="4389" actId="1076"/>
          <ac:spMkLst>
            <pc:docMk/>
            <pc:sldMk cId="4034841113" sldId="2147471548"/>
            <ac:spMk id="33" creationId="{00000000-0000-0000-0000-000000000000}"/>
          </ac:spMkLst>
        </pc:spChg>
        <pc:spChg chg="del">
          <ac:chgData name="Zabolotna, Kateryna" userId="724a1d14-7a1d-4ba3-a47b-ab98eba40d1a" providerId="ADAL" clId="{42FF804E-5648-4342-A39E-C38A6C181F7D}" dt="2022-08-05T10:05:49.924" v="3709" actId="478"/>
          <ac:spMkLst>
            <pc:docMk/>
            <pc:sldMk cId="4034841113" sldId="2147471548"/>
            <ac:spMk id="38" creationId="{BCEBCDD4-94C0-4EBC-8BBC-5B3DD452B373}"/>
          </ac:spMkLst>
        </pc:spChg>
        <pc:grpChg chg="mod">
          <ac:chgData name="Zabolotna, Kateryna" userId="724a1d14-7a1d-4ba3-a47b-ab98eba40d1a" providerId="ADAL" clId="{42FF804E-5648-4342-A39E-C38A6C181F7D}" dt="2022-08-05T10:05:55.508" v="3710" actId="1076"/>
          <ac:grpSpMkLst>
            <pc:docMk/>
            <pc:sldMk cId="4034841113" sldId="2147471548"/>
            <ac:grpSpMk id="2" creationId="{00000000-0000-0000-0000-000000000000}"/>
          </ac:grpSpMkLst>
        </pc:grpChg>
        <pc:grpChg chg="mod">
          <ac:chgData name="Zabolotna, Kateryna" userId="724a1d14-7a1d-4ba3-a47b-ab98eba40d1a" providerId="ADAL" clId="{42FF804E-5648-4342-A39E-C38A6C181F7D}" dt="2022-08-05T13:57:33.496" v="4267" actId="14100"/>
          <ac:grpSpMkLst>
            <pc:docMk/>
            <pc:sldMk cId="4034841113" sldId="2147471548"/>
            <ac:grpSpMk id="4" creationId="{00000000-0000-0000-0000-000000000000}"/>
          </ac:grpSpMkLst>
        </pc:grpChg>
        <pc:grpChg chg="del">
          <ac:chgData name="Zabolotna, Kateryna" userId="724a1d14-7a1d-4ba3-a47b-ab98eba40d1a" providerId="ADAL" clId="{42FF804E-5648-4342-A39E-C38A6C181F7D}" dt="2022-08-05T10:05:49.924" v="3709" actId="478"/>
          <ac:grpSpMkLst>
            <pc:docMk/>
            <pc:sldMk cId="4034841113" sldId="2147471548"/>
            <ac:grpSpMk id="34" creationId="{2DD73CD1-BD1A-4B78-9F3A-FAE423EB275A}"/>
          </ac:grpSpMkLst>
        </pc:grpChg>
        <pc:picChg chg="mod">
          <ac:chgData name="Zabolotna, Kateryna" userId="724a1d14-7a1d-4ba3-a47b-ab98eba40d1a" providerId="ADAL" clId="{42FF804E-5648-4342-A39E-C38A6C181F7D}" dt="2022-08-05T10:05:55.508" v="3710" actId="1076"/>
          <ac:picMkLst>
            <pc:docMk/>
            <pc:sldMk cId="4034841113" sldId="2147471548"/>
            <ac:picMk id="17" creationId="{837A6F86-5625-4CD7-866D-81CCC1A102FC}"/>
          </ac:picMkLst>
        </pc:picChg>
        <pc:picChg chg="mod">
          <ac:chgData name="Zabolotna, Kateryna" userId="724a1d14-7a1d-4ba3-a47b-ab98eba40d1a" providerId="ADAL" clId="{42FF804E-5648-4342-A39E-C38A6C181F7D}" dt="2022-08-05T10:05:55.508" v="3710" actId="1076"/>
          <ac:picMkLst>
            <pc:docMk/>
            <pc:sldMk cId="4034841113" sldId="2147471548"/>
            <ac:picMk id="19" creationId="{B2F50FF9-9BAD-4D74-AC1E-E883E7D58E73}"/>
          </ac:picMkLst>
        </pc:picChg>
        <pc:picChg chg="del">
          <ac:chgData name="Zabolotna, Kateryna" userId="724a1d14-7a1d-4ba3-a47b-ab98eba40d1a" providerId="ADAL" clId="{42FF804E-5648-4342-A39E-C38A6C181F7D}" dt="2022-08-05T10:05:49.924" v="3709" actId="478"/>
          <ac:picMkLst>
            <pc:docMk/>
            <pc:sldMk cId="4034841113" sldId="2147471548"/>
            <ac:picMk id="39" creationId="{43CA1EF5-B263-4A33-8C54-3075808E2A67}"/>
          </ac:picMkLst>
        </pc:picChg>
      </pc:sldChg>
      <pc:sldChg chg="addSp modSp new mod">
        <pc:chgData name="Zabolotna, Kateryna" userId="724a1d14-7a1d-4ba3-a47b-ab98eba40d1a" providerId="ADAL" clId="{42FF804E-5648-4342-A39E-C38A6C181F7D}" dt="2022-08-05T14:07:52.101" v="4568" actId="20577"/>
        <pc:sldMkLst>
          <pc:docMk/>
          <pc:sldMk cId="2186057247" sldId="2147471549"/>
        </pc:sldMkLst>
        <pc:spChg chg="mod">
          <ac:chgData name="Zabolotna, Kateryna" userId="724a1d14-7a1d-4ba3-a47b-ab98eba40d1a" providerId="ADAL" clId="{42FF804E-5648-4342-A39E-C38A6C181F7D}" dt="2022-08-05T10:04:51.787" v="3626"/>
          <ac:spMkLst>
            <pc:docMk/>
            <pc:sldMk cId="2186057247" sldId="2147471549"/>
            <ac:spMk id="7" creationId="{2502B92D-7CD7-C34A-C625-1EE386F2F1B1}"/>
          </ac:spMkLst>
        </pc:spChg>
        <pc:spChg chg="mod">
          <ac:chgData name="Zabolotna, Kateryna" userId="724a1d14-7a1d-4ba3-a47b-ab98eba40d1a" providerId="ADAL" clId="{42FF804E-5648-4342-A39E-C38A6C181F7D}" dt="2022-08-05T10:05:18.744" v="3699" actId="20577"/>
          <ac:spMkLst>
            <pc:docMk/>
            <pc:sldMk cId="2186057247" sldId="2147471549"/>
            <ac:spMk id="9" creationId="{83128B88-0066-3E58-C5EE-33137DC6620C}"/>
          </ac:spMkLst>
        </pc:spChg>
        <pc:spChg chg="mod">
          <ac:chgData name="Zabolotna, Kateryna" userId="724a1d14-7a1d-4ba3-a47b-ab98eba40d1a" providerId="ADAL" clId="{42FF804E-5648-4342-A39E-C38A6C181F7D}" dt="2022-08-05T10:05:07.533" v="3685" actId="20577"/>
          <ac:spMkLst>
            <pc:docMk/>
            <pc:sldMk cId="2186057247" sldId="2147471549"/>
            <ac:spMk id="11" creationId="{8145013C-2D0C-F138-2D99-48AF9BCFBC22}"/>
          </ac:spMkLst>
        </pc:spChg>
        <pc:spChg chg="mod">
          <ac:chgData name="Zabolotna, Kateryna" userId="724a1d14-7a1d-4ba3-a47b-ab98eba40d1a" providerId="ADAL" clId="{42FF804E-5648-4342-A39E-C38A6C181F7D}" dt="2022-08-05T10:04:51.787" v="3626"/>
          <ac:spMkLst>
            <pc:docMk/>
            <pc:sldMk cId="2186057247" sldId="2147471549"/>
            <ac:spMk id="12" creationId="{F71A73B2-F8CF-C3A2-994A-A9E7ABBE5ADF}"/>
          </ac:spMkLst>
        </pc:spChg>
        <pc:spChg chg="mod">
          <ac:chgData name="Zabolotna, Kateryna" userId="724a1d14-7a1d-4ba3-a47b-ab98eba40d1a" providerId="ADAL" clId="{42FF804E-5648-4342-A39E-C38A6C181F7D}" dt="2022-08-05T14:07:52.101" v="4568" actId="20577"/>
          <ac:spMkLst>
            <pc:docMk/>
            <pc:sldMk cId="2186057247" sldId="2147471549"/>
            <ac:spMk id="15" creationId="{9CEF4C39-9BC8-038F-EA99-295989744F00}"/>
          </ac:spMkLst>
        </pc:spChg>
        <pc:spChg chg="mod">
          <ac:chgData name="Zabolotna, Kateryna" userId="724a1d14-7a1d-4ba3-a47b-ab98eba40d1a" providerId="ADAL" clId="{42FF804E-5648-4342-A39E-C38A6C181F7D}" dt="2022-08-05T13:59:13.535" v="4391" actId="14100"/>
          <ac:spMkLst>
            <pc:docMk/>
            <pc:sldMk cId="2186057247" sldId="2147471549"/>
            <ac:spMk id="17" creationId="{18D8412F-3C38-2546-12E4-2654DF38B729}"/>
          </ac:spMkLst>
        </pc:spChg>
        <pc:spChg chg="mod">
          <ac:chgData name="Zabolotna, Kateryna" userId="724a1d14-7a1d-4ba3-a47b-ab98eba40d1a" providerId="ADAL" clId="{42FF804E-5648-4342-A39E-C38A6C181F7D}" dt="2022-08-05T14:07:38.524" v="4550" actId="14100"/>
          <ac:spMkLst>
            <pc:docMk/>
            <pc:sldMk cId="2186057247" sldId="2147471549"/>
            <ac:spMk id="20" creationId="{1605E843-8E69-3BAB-E8EC-C95CDD9463FA}"/>
          </ac:spMkLst>
        </pc:spChg>
        <pc:spChg chg="mod">
          <ac:chgData name="Zabolotna, Kateryna" userId="724a1d14-7a1d-4ba3-a47b-ab98eba40d1a" providerId="ADAL" clId="{42FF804E-5648-4342-A39E-C38A6C181F7D}" dt="2022-08-05T14:07:34.177" v="4549" actId="14100"/>
          <ac:spMkLst>
            <pc:docMk/>
            <pc:sldMk cId="2186057247" sldId="2147471549"/>
            <ac:spMk id="22" creationId="{76F0434B-0163-568A-8FBA-D53C878F1613}"/>
          </ac:spMkLst>
        </pc:spChg>
        <pc:grpChg chg="add mod">
          <ac:chgData name="Zabolotna, Kateryna" userId="724a1d14-7a1d-4ba3-a47b-ab98eba40d1a" providerId="ADAL" clId="{42FF804E-5648-4342-A39E-C38A6C181F7D}" dt="2022-08-05T10:04:51.787" v="3626"/>
          <ac:grpSpMkLst>
            <pc:docMk/>
            <pc:sldMk cId="2186057247" sldId="2147471549"/>
            <ac:grpSpMk id="2" creationId="{593E94A4-B4E7-1FBB-79BE-16442591F881}"/>
          </ac:grpSpMkLst>
        </pc:grpChg>
        <pc:grpChg chg="mod">
          <ac:chgData name="Zabolotna, Kateryna" userId="724a1d14-7a1d-4ba3-a47b-ab98eba40d1a" providerId="ADAL" clId="{42FF804E-5648-4342-A39E-C38A6C181F7D}" dt="2022-08-05T10:04:51.787" v="3626"/>
          <ac:grpSpMkLst>
            <pc:docMk/>
            <pc:sldMk cId="2186057247" sldId="2147471549"/>
            <ac:grpSpMk id="3" creationId="{0A421716-1FB4-BAA7-62BD-9D9ABC21138D}"/>
          </ac:grpSpMkLst>
        </pc:grpChg>
        <pc:grpChg chg="mod">
          <ac:chgData name="Zabolotna, Kateryna" userId="724a1d14-7a1d-4ba3-a47b-ab98eba40d1a" providerId="ADAL" clId="{42FF804E-5648-4342-A39E-C38A6C181F7D}" dt="2022-08-05T10:04:51.787" v="3626"/>
          <ac:grpSpMkLst>
            <pc:docMk/>
            <pc:sldMk cId="2186057247" sldId="2147471549"/>
            <ac:grpSpMk id="4" creationId="{8C3BC860-5575-AB05-EF6C-3E82A3285863}"/>
          </ac:grpSpMkLst>
        </pc:grpChg>
        <pc:grpChg chg="mod">
          <ac:chgData name="Zabolotna, Kateryna" userId="724a1d14-7a1d-4ba3-a47b-ab98eba40d1a" providerId="ADAL" clId="{42FF804E-5648-4342-A39E-C38A6C181F7D}" dt="2022-08-05T10:04:51.787" v="3626"/>
          <ac:grpSpMkLst>
            <pc:docMk/>
            <pc:sldMk cId="2186057247" sldId="2147471549"/>
            <ac:grpSpMk id="5" creationId="{D38F6718-3A4B-2B5B-0F67-E4A814BCAA40}"/>
          </ac:grpSpMkLst>
        </pc:grpChg>
        <pc:grpChg chg="mod">
          <ac:chgData name="Zabolotna, Kateryna" userId="724a1d14-7a1d-4ba3-a47b-ab98eba40d1a" providerId="ADAL" clId="{42FF804E-5648-4342-A39E-C38A6C181F7D}" dt="2022-08-05T10:04:51.787" v="3626"/>
          <ac:grpSpMkLst>
            <pc:docMk/>
            <pc:sldMk cId="2186057247" sldId="2147471549"/>
            <ac:grpSpMk id="8" creationId="{5B6E473F-ADB7-A176-048E-389BE36E2CCB}"/>
          </ac:grpSpMkLst>
        </pc:grpChg>
        <pc:grpChg chg="mod">
          <ac:chgData name="Zabolotna, Kateryna" userId="724a1d14-7a1d-4ba3-a47b-ab98eba40d1a" providerId="ADAL" clId="{42FF804E-5648-4342-A39E-C38A6C181F7D}" dt="2022-08-05T10:04:51.787" v="3626"/>
          <ac:grpSpMkLst>
            <pc:docMk/>
            <pc:sldMk cId="2186057247" sldId="2147471549"/>
            <ac:grpSpMk id="10" creationId="{C03AA694-A68F-2413-AC1B-EEA187863D05}"/>
          </ac:grpSpMkLst>
        </pc:grpChg>
        <pc:grpChg chg="add mod">
          <ac:chgData name="Zabolotna, Kateryna" userId="724a1d14-7a1d-4ba3-a47b-ab98eba40d1a" providerId="ADAL" clId="{42FF804E-5648-4342-A39E-C38A6C181F7D}" dt="2022-08-05T13:59:09.217" v="4390" actId="14100"/>
          <ac:grpSpMkLst>
            <pc:docMk/>
            <pc:sldMk cId="2186057247" sldId="2147471549"/>
            <ac:grpSpMk id="13" creationId="{F9223329-8170-FEF7-473B-E59B243F9DFD}"/>
          </ac:grpSpMkLst>
        </pc:grpChg>
        <pc:grpChg chg="mod">
          <ac:chgData name="Zabolotna, Kateryna" userId="724a1d14-7a1d-4ba3-a47b-ab98eba40d1a" providerId="ADAL" clId="{42FF804E-5648-4342-A39E-C38A6C181F7D}" dt="2022-08-05T10:06:25.648" v="3711"/>
          <ac:grpSpMkLst>
            <pc:docMk/>
            <pc:sldMk cId="2186057247" sldId="2147471549"/>
            <ac:grpSpMk id="14" creationId="{08EE0868-4FDE-14D1-CF2F-7CAC52FB95CF}"/>
          </ac:grpSpMkLst>
        </pc:grpChg>
        <pc:grpChg chg="add mod">
          <ac:chgData name="Zabolotna, Kateryna" userId="724a1d14-7a1d-4ba3-a47b-ab98eba40d1a" providerId="ADAL" clId="{42FF804E-5648-4342-A39E-C38A6C181F7D}" dt="2022-08-05T10:11:06.772" v="3972" actId="1076"/>
          <ac:grpSpMkLst>
            <pc:docMk/>
            <pc:sldMk cId="2186057247" sldId="2147471549"/>
            <ac:grpSpMk id="18" creationId="{E7D6A4EF-C058-C5E0-4CE7-6638A0DA3D78}"/>
          </ac:grpSpMkLst>
        </pc:grpChg>
        <pc:grpChg chg="mod">
          <ac:chgData name="Zabolotna, Kateryna" userId="724a1d14-7a1d-4ba3-a47b-ab98eba40d1a" providerId="ADAL" clId="{42FF804E-5648-4342-A39E-C38A6C181F7D}" dt="2022-08-05T10:06:25.648" v="3711"/>
          <ac:grpSpMkLst>
            <pc:docMk/>
            <pc:sldMk cId="2186057247" sldId="2147471549"/>
            <ac:grpSpMk id="19" creationId="{F150FF30-B63E-8BF3-7366-7D2A3BFF9DB6}"/>
          </ac:grpSpMkLst>
        </pc:grpChg>
        <pc:picChg chg="mod">
          <ac:chgData name="Zabolotna, Kateryna" userId="724a1d14-7a1d-4ba3-a47b-ab98eba40d1a" providerId="ADAL" clId="{42FF804E-5648-4342-A39E-C38A6C181F7D}" dt="2022-08-05T10:04:51.787" v="3626"/>
          <ac:picMkLst>
            <pc:docMk/>
            <pc:sldMk cId="2186057247" sldId="2147471549"/>
            <ac:picMk id="6" creationId="{08646F04-1205-3468-BDBF-7B9146E5A892}"/>
          </ac:picMkLst>
        </pc:picChg>
        <pc:picChg chg="mod">
          <ac:chgData name="Zabolotna, Kateryna" userId="724a1d14-7a1d-4ba3-a47b-ab98eba40d1a" providerId="ADAL" clId="{42FF804E-5648-4342-A39E-C38A6C181F7D}" dt="2022-08-05T10:16:37.486" v="4219" actId="1076"/>
          <ac:picMkLst>
            <pc:docMk/>
            <pc:sldMk cId="2186057247" sldId="2147471549"/>
            <ac:picMk id="16" creationId="{2E41AB85-F48C-4826-640A-9E4D3089C09E}"/>
          </ac:picMkLst>
        </pc:picChg>
        <pc:picChg chg="mod">
          <ac:chgData name="Zabolotna, Kateryna" userId="724a1d14-7a1d-4ba3-a47b-ab98eba40d1a" providerId="ADAL" clId="{42FF804E-5648-4342-A39E-C38A6C181F7D}" dt="2022-08-05T10:06:25.648" v="3711"/>
          <ac:picMkLst>
            <pc:docMk/>
            <pc:sldMk cId="2186057247" sldId="2147471549"/>
            <ac:picMk id="21" creationId="{DCDF6907-163A-FE77-24BF-597C69651E5A}"/>
          </ac:picMkLst>
        </pc:picChg>
        <pc:picChg chg="add mod">
          <ac:chgData name="Zabolotna, Kateryna" userId="724a1d14-7a1d-4ba3-a47b-ab98eba40d1a" providerId="ADAL" clId="{42FF804E-5648-4342-A39E-C38A6C181F7D}" dt="2022-08-05T10:09:01.075" v="3721" actId="1076"/>
          <ac:picMkLst>
            <pc:docMk/>
            <pc:sldMk cId="2186057247" sldId="2147471549"/>
            <ac:picMk id="68610" creationId="{D30D1FFA-A2C3-9527-4D0D-0EFE151D7841}"/>
          </ac:picMkLst>
        </pc:picChg>
      </pc:sldChg>
      <pc:sldMasterChg chg="addSldLayout delSldLayout">
        <pc:chgData name="Zabolotna, Kateryna" userId="724a1d14-7a1d-4ba3-a47b-ab98eba40d1a" providerId="ADAL" clId="{42FF804E-5648-4342-A39E-C38A6C181F7D}" dt="2022-08-05T10:21:39.234" v="4223" actId="2696"/>
        <pc:sldMasterMkLst>
          <pc:docMk/>
          <pc:sldMasterMk cId="1758148931" sldId="2147483687"/>
        </pc:sldMasterMkLst>
        <pc:sldLayoutChg chg="add del">
          <pc:chgData name="Zabolotna, Kateryna" userId="724a1d14-7a1d-4ba3-a47b-ab98eba40d1a" providerId="ADAL" clId="{42FF804E-5648-4342-A39E-C38A6C181F7D}" dt="2022-07-27T13:42:53.934" v="1606" actId="2696"/>
          <pc:sldLayoutMkLst>
            <pc:docMk/>
            <pc:sldMasterMk cId="1758148931" sldId="2147483687"/>
            <pc:sldLayoutMk cId="468197709" sldId="2147483724"/>
          </pc:sldLayoutMkLst>
        </pc:sldLayoutChg>
        <pc:sldLayoutChg chg="del">
          <pc:chgData name="Zabolotna, Kateryna" userId="724a1d14-7a1d-4ba3-a47b-ab98eba40d1a" providerId="ADAL" clId="{42FF804E-5648-4342-A39E-C38A6C181F7D}" dt="2022-08-05T10:21:39.234" v="4223" actId="2696"/>
          <pc:sldLayoutMkLst>
            <pc:docMk/>
            <pc:sldMasterMk cId="1758148931" sldId="2147483687"/>
            <pc:sldLayoutMk cId="1388206290" sldId="2147483724"/>
          </pc:sldLayoutMkLst>
        </pc:sldLayoutChg>
      </pc:sldMasterChg>
    </pc:docChg>
  </pc:docChgLst>
  <pc:docChgLst>
    <pc:chgData name="Zabolotna, Kateryna" userId="S::k27161@eon.com::724a1d14-7a1d-4ba3-a47b-ab98eba40d1a" providerId="AD" clId="Web-{DF86D550-4789-43CC-B6BB-106939034E4D}"/>
    <pc:docChg chg="modSld">
      <pc:chgData name="Zabolotna, Kateryna" userId="S::k27161@eon.com::724a1d14-7a1d-4ba3-a47b-ab98eba40d1a" providerId="AD" clId="Web-{DF86D550-4789-43CC-B6BB-106939034E4D}" dt="2022-08-29T14:32:54.899" v="23"/>
      <pc:docMkLst>
        <pc:docMk/>
      </pc:docMkLst>
      <pc:sldChg chg="addSp modSp modNotes">
        <pc:chgData name="Zabolotna, Kateryna" userId="S::k27161@eon.com::724a1d14-7a1d-4ba3-a47b-ab98eba40d1a" providerId="AD" clId="Web-{DF86D550-4789-43CC-B6BB-106939034E4D}" dt="2022-08-29T14:32:54.899" v="23"/>
        <pc:sldMkLst>
          <pc:docMk/>
          <pc:sldMk cId="1319830884" sldId="2147471547"/>
        </pc:sldMkLst>
        <pc:spChg chg="add mod">
          <ac:chgData name="Zabolotna, Kateryna" userId="S::k27161@eon.com::724a1d14-7a1d-4ba3-a47b-ab98eba40d1a" providerId="AD" clId="Web-{DF86D550-4789-43CC-B6BB-106939034E4D}" dt="2022-08-29T14:32:52.492" v="22" actId="20577"/>
          <ac:spMkLst>
            <pc:docMk/>
            <pc:sldMk cId="1319830884" sldId="2147471547"/>
            <ac:spMk id="6" creationId="{CE0B1FB0-AA45-9FFA-3425-A628EB3B1D2C}"/>
          </ac:spMkLst>
        </pc:spChg>
      </pc:sldChg>
    </pc:docChg>
  </pc:docChgLst>
  <pc:docChgLst>
    <pc:chgData name="Zabolotna, Kateryna" userId="S::k27161@eon.com::724a1d14-7a1d-4ba3-a47b-ab98eba40d1a" providerId="AD" clId="Web-{8A43D64A-ACDA-480E-90F7-7576A2BA9221}"/>
    <pc:docChg chg="modSld">
      <pc:chgData name="Zabolotna, Kateryna" userId="S::k27161@eon.com::724a1d14-7a1d-4ba3-a47b-ab98eba40d1a" providerId="AD" clId="Web-{8A43D64A-ACDA-480E-90F7-7576A2BA9221}" dt="2022-08-29T14:37:47.955" v="19" actId="1076"/>
      <pc:docMkLst>
        <pc:docMk/>
      </pc:docMkLst>
      <pc:sldChg chg="modSp">
        <pc:chgData name="Zabolotna, Kateryna" userId="S::k27161@eon.com::724a1d14-7a1d-4ba3-a47b-ab98eba40d1a" providerId="AD" clId="Web-{8A43D64A-ACDA-480E-90F7-7576A2BA9221}" dt="2022-08-29T14:37:32.971" v="18" actId="20577"/>
        <pc:sldMkLst>
          <pc:docMk/>
          <pc:sldMk cId="1319830884" sldId="2147471547"/>
        </pc:sldMkLst>
        <pc:spChg chg="mod">
          <ac:chgData name="Zabolotna, Kateryna" userId="S::k27161@eon.com::724a1d14-7a1d-4ba3-a47b-ab98eba40d1a" providerId="AD" clId="Web-{8A43D64A-ACDA-480E-90F7-7576A2BA9221}" dt="2022-08-29T14:37:32.971" v="18" actId="20577"/>
          <ac:spMkLst>
            <pc:docMk/>
            <pc:sldMk cId="1319830884" sldId="2147471547"/>
            <ac:spMk id="46" creationId="{BB5EE5A0-F5A4-AA8D-F94E-8865985109C5}"/>
          </ac:spMkLst>
        </pc:spChg>
      </pc:sldChg>
      <pc:sldChg chg="modSp">
        <pc:chgData name="Zabolotna, Kateryna" userId="S::k27161@eon.com::724a1d14-7a1d-4ba3-a47b-ab98eba40d1a" providerId="AD" clId="Web-{8A43D64A-ACDA-480E-90F7-7576A2BA9221}" dt="2022-08-29T14:37:47.955" v="19" actId="1076"/>
        <pc:sldMkLst>
          <pc:docMk/>
          <pc:sldMk cId="4034841113" sldId="2147471548"/>
        </pc:sldMkLst>
        <pc:spChg chg="mod">
          <ac:chgData name="Zabolotna, Kateryna" userId="S::k27161@eon.com::724a1d14-7a1d-4ba3-a47b-ab98eba40d1a" providerId="AD" clId="Web-{8A43D64A-ACDA-480E-90F7-7576A2BA9221}" dt="2022-08-29T14:37:47.955" v="19" actId="1076"/>
          <ac:spMkLst>
            <pc:docMk/>
            <pc:sldMk cId="4034841113" sldId="2147471548"/>
            <ac:spMk id="33" creationId="{00000000-0000-0000-0000-000000000000}"/>
          </ac:spMkLst>
        </pc:spChg>
      </pc:sldChg>
    </pc:docChg>
  </pc:docChgLst>
  <pc:docChgLst>
    <pc:chgData name="Zabolotna, Kateryna" userId="S::k27161@eon.com::724a1d14-7a1d-4ba3-a47b-ab98eba40d1a" providerId="AD" clId="Web-{B9AAF7CC-8A8D-4DB0-8C1B-8CBBC9FA7500}"/>
    <pc:docChg chg="addSld sldOrd modSection">
      <pc:chgData name="Zabolotna, Kateryna" userId="S::k27161@eon.com::724a1d14-7a1d-4ba3-a47b-ab98eba40d1a" providerId="AD" clId="Web-{B9AAF7CC-8A8D-4DB0-8C1B-8CBBC9FA7500}" dt="2022-08-29T13:53:25.296" v="1"/>
      <pc:docMkLst>
        <pc:docMk/>
      </pc:docMkLst>
      <pc:sldChg chg="ord">
        <pc:chgData name="Zabolotna, Kateryna" userId="S::k27161@eon.com::724a1d14-7a1d-4ba3-a47b-ab98eba40d1a" providerId="AD" clId="Web-{B9AAF7CC-8A8D-4DB0-8C1B-8CBBC9FA7500}" dt="2022-08-29T13:53:25.296" v="1"/>
        <pc:sldMkLst>
          <pc:docMk/>
          <pc:sldMk cId="568141187" sldId="2147471550"/>
        </pc:sldMkLst>
      </pc:sldChg>
      <pc:sldChg chg="add replId">
        <pc:chgData name="Zabolotna, Kateryna" userId="S::k27161@eon.com::724a1d14-7a1d-4ba3-a47b-ab98eba40d1a" providerId="AD" clId="Web-{B9AAF7CC-8A8D-4DB0-8C1B-8CBBC9FA7500}" dt="2022-08-29T13:53:21.139" v="0"/>
        <pc:sldMkLst>
          <pc:docMk/>
          <pc:sldMk cId="432234890" sldId="2147471551"/>
        </pc:sldMkLst>
      </pc:sldChg>
    </pc:docChg>
  </pc:docChgLst>
  <pc:docChgLst>
    <pc:chgData name="Zabolotna, Kateryna" userId="S::k27161@eon.com::724a1d14-7a1d-4ba3-a47b-ab98eba40d1a" providerId="AD" clId="Web-{1E06C379-3007-49F3-AC47-CF28D5F3AFBD}"/>
    <pc:docChg chg="addSld modSection">
      <pc:chgData name="Zabolotna, Kateryna" userId="S::k27161@eon.com::724a1d14-7a1d-4ba3-a47b-ab98eba40d1a" providerId="AD" clId="Web-{1E06C379-3007-49F3-AC47-CF28D5F3AFBD}" dt="2022-08-29T13:49:57.473" v="0"/>
      <pc:docMkLst>
        <pc:docMk/>
      </pc:docMkLst>
      <pc:sldChg chg="new">
        <pc:chgData name="Zabolotna, Kateryna" userId="S::k27161@eon.com::724a1d14-7a1d-4ba3-a47b-ab98eba40d1a" providerId="AD" clId="Web-{1E06C379-3007-49F3-AC47-CF28D5F3AFBD}" dt="2022-08-29T13:49:57.473" v="0"/>
        <pc:sldMkLst>
          <pc:docMk/>
          <pc:sldMk cId="568141187" sldId="2147471550"/>
        </pc:sldMkLst>
      </pc:sldChg>
    </pc:docChg>
  </pc:docChgLst>
  <pc:docChgLst>
    <pc:chgData name="Mudunuri, Venkata Naga Sai Abhiram" userId="d0d02bce-c269-429c-a96a-44e3e4146b36" providerId="ADAL" clId="{81EF6C6E-2C51-4B10-A72A-36560A17C517}"/>
    <pc:docChg chg="modSld">
      <pc:chgData name="Mudunuri, Venkata Naga Sai Abhiram" userId="d0d02bce-c269-429c-a96a-44e3e4146b36" providerId="ADAL" clId="{81EF6C6E-2C51-4B10-A72A-36560A17C517}" dt="2022-08-22T15:03:49.563" v="85" actId="20577"/>
      <pc:docMkLst>
        <pc:docMk/>
      </pc:docMkLst>
      <pc:sldChg chg="modSp mod">
        <pc:chgData name="Mudunuri, Venkata Naga Sai Abhiram" userId="d0d02bce-c269-429c-a96a-44e3e4146b36" providerId="ADAL" clId="{81EF6C6E-2C51-4B10-A72A-36560A17C517}" dt="2022-08-22T15:03:49.563" v="85" actId="20577"/>
        <pc:sldMkLst>
          <pc:docMk/>
          <pc:sldMk cId="1533911357" sldId="308"/>
        </pc:sldMkLst>
        <pc:spChg chg="mod">
          <ac:chgData name="Mudunuri, Venkata Naga Sai Abhiram" userId="d0d02bce-c269-429c-a96a-44e3e4146b36" providerId="ADAL" clId="{81EF6C6E-2C51-4B10-A72A-36560A17C517}" dt="2022-08-22T15:03:49.563" v="85" actId="20577"/>
          <ac:spMkLst>
            <pc:docMk/>
            <pc:sldMk cId="1533911357" sldId="308"/>
            <ac:spMk id="61" creationId="{C6D2EB95-8E83-A77E-E78E-DA5C56F8F946}"/>
          </ac:spMkLst>
        </pc:spChg>
      </pc:sldChg>
    </pc:docChg>
  </pc:docChgLst>
  <pc:docChgLst>
    <pc:chgData name="Zabolotna, Kateryna" userId="S::k27161@eon.com::724a1d14-7a1d-4ba3-a47b-ab98eba40d1a" providerId="AD" clId="Web-{54250A26-2CC0-4735-BCBA-44BE673FD8ED}"/>
    <pc:docChg chg="delSld modSld sldOrd modSection">
      <pc:chgData name="Zabolotna, Kateryna" userId="S::k27161@eon.com::724a1d14-7a1d-4ba3-a47b-ab98eba40d1a" providerId="AD" clId="Web-{54250A26-2CC0-4735-BCBA-44BE673FD8ED}" dt="2022-08-29T14:27:31.249" v="440" actId="20577"/>
      <pc:docMkLst>
        <pc:docMk/>
      </pc:docMkLst>
      <pc:sldChg chg="addSp delSp modSp">
        <pc:chgData name="Zabolotna, Kateryna" userId="S::k27161@eon.com::724a1d14-7a1d-4ba3-a47b-ab98eba40d1a" providerId="AD" clId="Web-{54250A26-2CC0-4735-BCBA-44BE673FD8ED}" dt="2022-08-29T14:27:31.249" v="440" actId="20577"/>
        <pc:sldMkLst>
          <pc:docMk/>
          <pc:sldMk cId="1319830884" sldId="2147471547"/>
        </pc:sldMkLst>
        <pc:spChg chg="mod">
          <ac:chgData name="Zabolotna, Kateryna" userId="S::k27161@eon.com::724a1d14-7a1d-4ba3-a47b-ab98eba40d1a" providerId="AD" clId="Web-{54250A26-2CC0-4735-BCBA-44BE673FD8ED}" dt="2022-08-29T14:21:45.144" v="337" actId="14100"/>
          <ac:spMkLst>
            <pc:docMk/>
            <pc:sldMk cId="1319830884" sldId="2147471547"/>
            <ac:spMk id="3" creationId="{00000000-0000-0000-0000-000000000000}"/>
          </ac:spMkLst>
        </pc:spChg>
        <pc:spChg chg="mod">
          <ac:chgData name="Zabolotna, Kateryna" userId="S::k27161@eon.com::724a1d14-7a1d-4ba3-a47b-ab98eba40d1a" providerId="AD" clId="Web-{54250A26-2CC0-4735-BCBA-44BE673FD8ED}" dt="2022-08-29T14:22:18.364" v="344" actId="14100"/>
          <ac:spMkLst>
            <pc:docMk/>
            <pc:sldMk cId="1319830884" sldId="2147471547"/>
            <ac:spMk id="5" creationId="{00000000-0000-0000-0000-000000000000}"/>
          </ac:spMkLst>
        </pc:spChg>
        <pc:spChg chg="mod">
          <ac:chgData name="Zabolotna, Kateryna" userId="S::k27161@eon.com::724a1d14-7a1d-4ba3-a47b-ab98eba40d1a" providerId="AD" clId="Web-{54250A26-2CC0-4735-BCBA-44BE673FD8ED}" dt="2022-08-29T14:05:03.049" v="90" actId="20577"/>
          <ac:spMkLst>
            <pc:docMk/>
            <pc:sldMk cId="1319830884" sldId="2147471547"/>
            <ac:spMk id="11" creationId="{00000000-0000-0000-0000-000000000000}"/>
          </ac:spMkLst>
        </pc:spChg>
        <pc:spChg chg="mod">
          <ac:chgData name="Zabolotna, Kateryna" userId="S::k27161@eon.com::724a1d14-7a1d-4ba3-a47b-ab98eba40d1a" providerId="AD" clId="Web-{54250A26-2CC0-4735-BCBA-44BE673FD8ED}" dt="2022-08-29T14:07:05.006" v="100"/>
          <ac:spMkLst>
            <pc:docMk/>
            <pc:sldMk cId="1319830884" sldId="2147471547"/>
            <ac:spMk id="12" creationId="{ED1CB040-2DA6-81F9-7ABD-76D9F9D8545D}"/>
          </ac:spMkLst>
        </pc:spChg>
        <pc:spChg chg="mod">
          <ac:chgData name="Zabolotna, Kateryna" userId="S::k27161@eon.com::724a1d14-7a1d-4ba3-a47b-ab98eba40d1a" providerId="AD" clId="Web-{54250A26-2CC0-4735-BCBA-44BE673FD8ED}" dt="2022-08-29T14:07:05.037" v="101"/>
          <ac:spMkLst>
            <pc:docMk/>
            <pc:sldMk cId="1319830884" sldId="2147471547"/>
            <ac:spMk id="24" creationId="{334CFFA1-F32B-28A6-7968-8D743921608C}"/>
          </ac:spMkLst>
        </pc:spChg>
        <pc:spChg chg="mod">
          <ac:chgData name="Zabolotna, Kateryna" userId="S::k27161@eon.com::724a1d14-7a1d-4ba3-a47b-ab98eba40d1a" providerId="AD" clId="Web-{54250A26-2CC0-4735-BCBA-44BE673FD8ED}" dt="2022-08-29T14:21:01.534" v="330" actId="14100"/>
          <ac:spMkLst>
            <pc:docMk/>
            <pc:sldMk cId="1319830884" sldId="2147471547"/>
            <ac:spMk id="30" creationId="{38D3F8EC-E66D-4957-878B-B01240227C28}"/>
          </ac:spMkLst>
        </pc:spChg>
        <pc:spChg chg="mod">
          <ac:chgData name="Zabolotna, Kateryna" userId="S::k27161@eon.com::724a1d14-7a1d-4ba3-a47b-ab98eba40d1a" providerId="AD" clId="Web-{54250A26-2CC0-4735-BCBA-44BE673FD8ED}" dt="2022-08-29T14:20:47.721" v="329" actId="1076"/>
          <ac:spMkLst>
            <pc:docMk/>
            <pc:sldMk cId="1319830884" sldId="2147471547"/>
            <ac:spMk id="32" creationId="{00000000-0000-0000-0000-000000000000}"/>
          </ac:spMkLst>
        </pc:spChg>
        <pc:spChg chg="mod">
          <ac:chgData name="Zabolotna, Kateryna" userId="S::k27161@eon.com::724a1d14-7a1d-4ba3-a47b-ab98eba40d1a" providerId="AD" clId="Web-{54250A26-2CC0-4735-BCBA-44BE673FD8ED}" dt="2022-08-29T14:22:37.365" v="352" actId="20577"/>
          <ac:spMkLst>
            <pc:docMk/>
            <pc:sldMk cId="1319830884" sldId="2147471547"/>
            <ac:spMk id="33" creationId="{00000000-0000-0000-0000-000000000000}"/>
          </ac:spMkLst>
        </pc:spChg>
        <pc:spChg chg="mod">
          <ac:chgData name="Zabolotna, Kateryna" userId="S::k27161@eon.com::724a1d14-7a1d-4ba3-a47b-ab98eba40d1a" providerId="AD" clId="Web-{54250A26-2CC0-4735-BCBA-44BE673FD8ED}" dt="2022-08-29T14:21:08.909" v="331" actId="14100"/>
          <ac:spMkLst>
            <pc:docMk/>
            <pc:sldMk cId="1319830884" sldId="2147471547"/>
            <ac:spMk id="34" creationId="{0E63A498-95F4-409B-8088-3A428CE0D848}"/>
          </ac:spMkLst>
        </pc:spChg>
        <pc:spChg chg="mod">
          <ac:chgData name="Zabolotna, Kateryna" userId="S::k27161@eon.com::724a1d14-7a1d-4ba3-a47b-ab98eba40d1a" providerId="AD" clId="Web-{54250A26-2CC0-4735-BCBA-44BE673FD8ED}" dt="2022-08-29T14:05:08.018" v="91" actId="1076"/>
          <ac:spMkLst>
            <pc:docMk/>
            <pc:sldMk cId="1319830884" sldId="2147471547"/>
            <ac:spMk id="36" creationId="{5364C3E7-86E2-4AAF-B675-56D6668A677C}"/>
          </ac:spMkLst>
        </pc:spChg>
        <pc:spChg chg="mod">
          <ac:chgData name="Zabolotna, Kateryna" userId="S::k27161@eon.com::724a1d14-7a1d-4ba3-a47b-ab98eba40d1a" providerId="AD" clId="Web-{54250A26-2CC0-4735-BCBA-44BE673FD8ED}" dt="2022-08-29T14:07:05.069" v="102"/>
          <ac:spMkLst>
            <pc:docMk/>
            <pc:sldMk cId="1319830884" sldId="2147471547"/>
            <ac:spMk id="38" creationId="{A88579F0-2E85-1141-76EE-956C99A5771B}"/>
          </ac:spMkLst>
        </pc:spChg>
        <pc:spChg chg="add del mod">
          <ac:chgData name="Zabolotna, Kateryna" userId="S::k27161@eon.com::724a1d14-7a1d-4ba3-a47b-ab98eba40d1a" providerId="AD" clId="Web-{54250A26-2CC0-4735-BCBA-44BE673FD8ED}" dt="2022-08-29T14:01:58.527" v="51"/>
          <ac:spMkLst>
            <pc:docMk/>
            <pc:sldMk cId="1319830884" sldId="2147471547"/>
            <ac:spMk id="43" creationId="{93666409-7585-35A9-61CA-26FD9D15E584}"/>
          </ac:spMkLst>
        </pc:spChg>
        <pc:spChg chg="add del mod">
          <ac:chgData name="Zabolotna, Kateryna" userId="S::k27161@eon.com::724a1d14-7a1d-4ba3-a47b-ab98eba40d1a" providerId="AD" clId="Web-{54250A26-2CC0-4735-BCBA-44BE673FD8ED}" dt="2022-08-29T14:03:11.920" v="70"/>
          <ac:spMkLst>
            <pc:docMk/>
            <pc:sldMk cId="1319830884" sldId="2147471547"/>
            <ac:spMk id="44" creationId="{4FBCBD41-FABD-6736-59CC-8954AA3BB500}"/>
          </ac:spMkLst>
        </pc:spChg>
        <pc:spChg chg="add mod">
          <ac:chgData name="Zabolotna, Kateryna" userId="S::k27161@eon.com::724a1d14-7a1d-4ba3-a47b-ab98eba40d1a" providerId="AD" clId="Web-{54250A26-2CC0-4735-BCBA-44BE673FD8ED}" dt="2022-08-29T14:27:31.249" v="440" actId="20577"/>
          <ac:spMkLst>
            <pc:docMk/>
            <pc:sldMk cId="1319830884" sldId="2147471547"/>
            <ac:spMk id="46" creationId="{BB5EE5A0-F5A4-AA8D-F94E-8865985109C5}"/>
          </ac:spMkLst>
        </pc:spChg>
        <pc:spChg chg="add del mod">
          <ac:chgData name="Zabolotna, Kateryna" userId="S::k27161@eon.com::724a1d14-7a1d-4ba3-a47b-ab98eba40d1a" providerId="AD" clId="Web-{54250A26-2CC0-4735-BCBA-44BE673FD8ED}" dt="2022-08-29T14:17:17.667" v="215"/>
          <ac:spMkLst>
            <pc:docMk/>
            <pc:sldMk cId="1319830884" sldId="2147471547"/>
            <ac:spMk id="47" creationId="{96F3A423-9E01-7687-7A79-6D690453673D}"/>
          </ac:spMkLst>
        </pc:spChg>
        <pc:spChg chg="add mod ord">
          <ac:chgData name="Zabolotna, Kateryna" userId="S::k27161@eon.com::724a1d14-7a1d-4ba3-a47b-ab98eba40d1a" providerId="AD" clId="Web-{54250A26-2CC0-4735-BCBA-44BE673FD8ED}" dt="2022-08-29T14:25:29.745" v="387" actId="1076"/>
          <ac:spMkLst>
            <pc:docMk/>
            <pc:sldMk cId="1319830884" sldId="2147471547"/>
            <ac:spMk id="51" creationId="{12388376-36BA-5BAF-C586-BF59EAD577D4}"/>
          </ac:spMkLst>
        </pc:spChg>
        <pc:grpChg chg="add del mod">
          <ac:chgData name="Zabolotna, Kateryna" userId="S::k27161@eon.com::724a1d14-7a1d-4ba3-a47b-ab98eba40d1a" providerId="AD" clId="Web-{54250A26-2CC0-4735-BCBA-44BE673FD8ED}" dt="2022-08-29T14:07:49.226" v="112"/>
          <ac:grpSpMkLst>
            <pc:docMk/>
            <pc:sldMk cId="1319830884" sldId="2147471547"/>
            <ac:grpSpMk id="6" creationId="{466D46BB-3065-2458-579F-9EC693232C60}"/>
          </ac:grpSpMkLst>
        </pc:grpChg>
        <pc:grpChg chg="mod">
          <ac:chgData name="Zabolotna, Kateryna" userId="S::k27161@eon.com::724a1d14-7a1d-4ba3-a47b-ab98eba40d1a" providerId="AD" clId="Web-{54250A26-2CC0-4735-BCBA-44BE673FD8ED}" dt="2022-08-29T14:22:06.411" v="342" actId="1076"/>
          <ac:grpSpMkLst>
            <pc:docMk/>
            <pc:sldMk cId="1319830884" sldId="2147471547"/>
            <ac:grpSpMk id="18" creationId="{CA6643B9-B74B-4A1F-BCDF-4D7AC36CF48C}"/>
          </ac:grpSpMkLst>
        </pc:grpChg>
        <pc:grpChg chg="mod">
          <ac:chgData name="Zabolotna, Kateryna" userId="S::k27161@eon.com::724a1d14-7a1d-4ba3-a47b-ab98eba40d1a" providerId="AD" clId="Web-{54250A26-2CC0-4735-BCBA-44BE673FD8ED}" dt="2022-08-29T14:22:48.006" v="353" actId="1076"/>
          <ac:grpSpMkLst>
            <pc:docMk/>
            <pc:sldMk cId="1319830884" sldId="2147471547"/>
            <ac:grpSpMk id="20" creationId="{53A760A3-EBA9-41CA-A1CC-D0D4AF6CF957}"/>
          </ac:grpSpMkLst>
        </pc:grpChg>
        <pc:grpChg chg="add del mod">
          <ac:chgData name="Zabolotna, Kateryna" userId="S::k27161@eon.com::724a1d14-7a1d-4ba3-a47b-ab98eba40d1a" providerId="AD" clId="Web-{54250A26-2CC0-4735-BCBA-44BE673FD8ED}" dt="2022-08-29T14:07:49.226" v="111"/>
          <ac:grpSpMkLst>
            <pc:docMk/>
            <pc:sldMk cId="1319830884" sldId="2147471547"/>
            <ac:grpSpMk id="22" creationId="{5E04468E-EB6A-92F6-9BA0-3AE4A5A73E80}"/>
          </ac:grpSpMkLst>
        </pc:grpChg>
        <pc:grpChg chg="add del mod">
          <ac:chgData name="Zabolotna, Kateryna" userId="S::k27161@eon.com::724a1d14-7a1d-4ba3-a47b-ab98eba40d1a" providerId="AD" clId="Web-{54250A26-2CC0-4735-BCBA-44BE673FD8ED}" dt="2022-08-29T14:07:49.226" v="110"/>
          <ac:grpSpMkLst>
            <pc:docMk/>
            <pc:sldMk cId="1319830884" sldId="2147471547"/>
            <ac:grpSpMk id="27" creationId="{8CBCCCEA-AC0C-E722-DC85-406EB632C43A}"/>
          </ac:grpSpMkLst>
        </pc:grpChg>
        <pc:grpChg chg="mod">
          <ac:chgData name="Zabolotna, Kateryna" userId="S::k27161@eon.com::724a1d14-7a1d-4ba3-a47b-ab98eba40d1a" providerId="AD" clId="Web-{54250A26-2CC0-4735-BCBA-44BE673FD8ED}" dt="2022-08-29T14:24:38.103" v="370" actId="14100"/>
          <ac:grpSpMkLst>
            <pc:docMk/>
            <pc:sldMk cId="1319830884" sldId="2147471547"/>
            <ac:grpSpMk id="28" creationId="{EB420234-A86C-4722-B935-A13886A1FBC5}"/>
          </ac:grpSpMkLst>
        </pc:grpChg>
        <pc:picChg chg="mod">
          <ac:chgData name="Zabolotna, Kateryna" userId="S::k27161@eon.com::724a1d14-7a1d-4ba3-a47b-ab98eba40d1a" providerId="AD" clId="Web-{54250A26-2CC0-4735-BCBA-44BE673FD8ED}" dt="2022-08-29T14:22:23.161" v="345" actId="1076"/>
          <ac:picMkLst>
            <pc:docMk/>
            <pc:sldMk cId="1319830884" sldId="2147471547"/>
            <ac:picMk id="17" creationId="{837A6F86-5625-4CD7-866D-81CCC1A102FC}"/>
          </ac:picMkLst>
        </pc:picChg>
        <pc:picChg chg="mod">
          <ac:chgData name="Zabolotna, Kateryna" userId="S::k27161@eon.com::724a1d14-7a1d-4ba3-a47b-ab98eba40d1a" providerId="AD" clId="Web-{54250A26-2CC0-4735-BCBA-44BE673FD8ED}" dt="2022-08-29T14:21:15.268" v="332" actId="1076"/>
          <ac:picMkLst>
            <pc:docMk/>
            <pc:sldMk cId="1319830884" sldId="2147471547"/>
            <ac:picMk id="31" creationId="{93A7E393-DB50-4137-9B2A-1F4DF222D5D8}"/>
          </ac:picMkLst>
        </pc:picChg>
        <pc:picChg chg="add mod ord">
          <ac:chgData name="Zabolotna, Kateryna" userId="S::k27161@eon.com::724a1d14-7a1d-4ba3-a47b-ab98eba40d1a" providerId="AD" clId="Web-{54250A26-2CC0-4735-BCBA-44BE673FD8ED}" dt="2022-08-29T14:27:10.124" v="429" actId="1076"/>
          <ac:picMkLst>
            <pc:docMk/>
            <pc:sldMk cId="1319830884" sldId="2147471547"/>
            <ac:picMk id="45" creationId="{7FB40737-4F95-58C3-4DF6-492838853E3C}"/>
          </ac:picMkLst>
        </pc:picChg>
        <pc:picChg chg="add mod">
          <ac:chgData name="Zabolotna, Kateryna" userId="S::k27161@eon.com::724a1d14-7a1d-4ba3-a47b-ab98eba40d1a" providerId="AD" clId="Web-{54250A26-2CC0-4735-BCBA-44BE673FD8ED}" dt="2022-08-29T14:25:45.183" v="393" actId="1076"/>
          <ac:picMkLst>
            <pc:docMk/>
            <pc:sldMk cId="1319830884" sldId="2147471547"/>
            <ac:picMk id="48" creationId="{AC94F7E3-9399-B26E-3BBE-C9B91FFB7D10}"/>
          </ac:picMkLst>
        </pc:picChg>
        <pc:picChg chg="add mod">
          <ac:chgData name="Zabolotna, Kateryna" userId="S::k27161@eon.com::724a1d14-7a1d-4ba3-a47b-ab98eba40d1a" providerId="AD" clId="Web-{54250A26-2CC0-4735-BCBA-44BE673FD8ED}" dt="2022-08-29T14:25:42.527" v="392" actId="1076"/>
          <ac:picMkLst>
            <pc:docMk/>
            <pc:sldMk cId="1319830884" sldId="2147471547"/>
            <ac:picMk id="49" creationId="{46581324-4C53-9ED5-A251-7F6F5D35931B}"/>
          </ac:picMkLst>
        </pc:picChg>
        <pc:picChg chg="add mod">
          <ac:chgData name="Zabolotna, Kateryna" userId="S::k27161@eon.com::724a1d14-7a1d-4ba3-a47b-ab98eba40d1a" providerId="AD" clId="Web-{54250A26-2CC0-4735-BCBA-44BE673FD8ED}" dt="2022-08-29T14:25:49.496" v="394" actId="1076"/>
          <ac:picMkLst>
            <pc:docMk/>
            <pc:sldMk cId="1319830884" sldId="2147471547"/>
            <ac:picMk id="50" creationId="{C3E183EB-EF9F-B004-4021-9898434EDB62}"/>
          </ac:picMkLst>
        </pc:picChg>
        <pc:picChg chg="del mod">
          <ac:chgData name="Zabolotna, Kateryna" userId="S::k27161@eon.com::724a1d14-7a1d-4ba3-a47b-ab98eba40d1a" providerId="AD" clId="Web-{54250A26-2CC0-4735-BCBA-44BE673FD8ED}" dt="2022-08-29T14:12:54.049" v="151"/>
          <ac:picMkLst>
            <pc:docMk/>
            <pc:sldMk cId="1319830884" sldId="2147471547"/>
            <ac:picMk id="8194" creationId="{A813ADBE-F6E6-483F-9A71-C43C2A009968}"/>
          </ac:picMkLst>
        </pc:picChg>
      </pc:sldChg>
      <pc:sldChg chg="addSp modSp del ord">
        <pc:chgData name="Zabolotna, Kateryna" userId="S::k27161@eon.com::724a1d14-7a1d-4ba3-a47b-ab98eba40d1a" providerId="AD" clId="Web-{54250A26-2CC0-4735-BCBA-44BE673FD8ED}" dt="2022-08-29T14:10:47.623" v="150"/>
        <pc:sldMkLst>
          <pc:docMk/>
          <pc:sldMk cId="568141187" sldId="2147471550"/>
        </pc:sldMkLst>
        <pc:spChg chg="add mod">
          <ac:chgData name="Zabolotna, Kateryna" userId="S::k27161@eon.com::724a1d14-7a1d-4ba3-a47b-ab98eba40d1a" providerId="AD" clId="Web-{54250A26-2CC0-4735-BCBA-44BE673FD8ED}" dt="2022-08-29T13:59:15.022" v="5" actId="1076"/>
          <ac:spMkLst>
            <pc:docMk/>
            <pc:sldMk cId="568141187" sldId="2147471550"/>
            <ac:spMk id="2" creationId="{A6BD2AC5-866B-7038-007D-B9BA51766527}"/>
          </ac:spMkLst>
        </pc:spChg>
      </pc:sldChg>
    </pc:docChg>
  </pc:docChgLst>
  <pc:docChgLst>
    <pc:chgData name="Zabolotna, Kateryna" userId="S::k27161@eon.com::724a1d14-7a1d-4ba3-a47b-ab98eba40d1a" providerId="AD" clId="Web-{7DE020DE-EE9B-416F-8CD8-85C6DD6A1466}"/>
    <pc:docChg chg="modSld">
      <pc:chgData name="Zabolotna, Kateryna" userId="S::k27161@eon.com::724a1d14-7a1d-4ba3-a47b-ab98eba40d1a" providerId="AD" clId="Web-{7DE020DE-EE9B-416F-8CD8-85C6DD6A1466}" dt="2022-08-05T10:49:55.272" v="0" actId="1076"/>
      <pc:docMkLst>
        <pc:docMk/>
      </pc:docMkLst>
      <pc:sldChg chg="modSp">
        <pc:chgData name="Zabolotna, Kateryna" userId="S::k27161@eon.com::724a1d14-7a1d-4ba3-a47b-ab98eba40d1a" providerId="AD" clId="Web-{7DE020DE-EE9B-416F-8CD8-85C6DD6A1466}" dt="2022-08-05T10:49:55.272" v="0" actId="1076"/>
        <pc:sldMkLst>
          <pc:docMk/>
          <pc:sldMk cId="2186057247" sldId="2147471549"/>
        </pc:sldMkLst>
        <pc:spChg chg="mod">
          <ac:chgData name="Zabolotna, Kateryna" userId="S::k27161@eon.com::724a1d14-7a1d-4ba3-a47b-ab98eba40d1a" providerId="AD" clId="Web-{7DE020DE-EE9B-416F-8CD8-85C6DD6A1466}" dt="2022-08-05T10:49:55.272" v="0" actId="1076"/>
          <ac:spMkLst>
            <pc:docMk/>
            <pc:sldMk cId="2186057247" sldId="2147471549"/>
            <ac:spMk id="20" creationId="{1605E843-8E69-3BAB-E8EC-C95CDD9463FA}"/>
          </ac:spMkLst>
        </pc:spChg>
      </pc:sldChg>
    </pc:docChg>
  </pc:docChgLst>
  <pc:docChgLst>
    <pc:chgData name="Pyplacz, Romina" userId="S::r21542@eon.com::cef27d05-a6da-4703-9764-b760f1130f33" providerId="AD" clId="Web-{0BBA63CA-DBCD-4785-92BC-5541A1CAEDB3}"/>
    <pc:docChg chg="delSld sldOrd modSection">
      <pc:chgData name="Pyplacz, Romina" userId="S::r21542@eon.com::cef27d05-a6da-4703-9764-b760f1130f33" providerId="AD" clId="Web-{0BBA63CA-DBCD-4785-92BC-5541A1CAEDB3}" dt="2022-07-28T08:14:43.850" v="1"/>
      <pc:docMkLst>
        <pc:docMk/>
      </pc:docMkLst>
      <pc:sldChg chg="ord">
        <pc:chgData name="Pyplacz, Romina" userId="S::r21542@eon.com::cef27d05-a6da-4703-9764-b760f1130f33" providerId="AD" clId="Web-{0BBA63CA-DBCD-4785-92BC-5541A1CAEDB3}" dt="2022-07-28T08:13:23.175" v="0"/>
        <pc:sldMkLst>
          <pc:docMk/>
          <pc:sldMk cId="0" sldId="2147471528"/>
        </pc:sldMkLst>
      </pc:sldChg>
      <pc:sldChg chg="del">
        <pc:chgData name="Pyplacz, Romina" userId="S::r21542@eon.com::cef27d05-a6da-4703-9764-b760f1130f33" providerId="AD" clId="Web-{0BBA63CA-DBCD-4785-92BC-5541A1CAEDB3}" dt="2022-07-28T08:14:43.850" v="1"/>
        <pc:sldMkLst>
          <pc:docMk/>
          <pc:sldMk cId="2357741314" sldId="2147471529"/>
        </pc:sldMkLst>
      </pc:sldChg>
    </pc:docChg>
  </pc:docChgLst>
  <pc:docChgLst>
    <pc:chgData name="bertrand.sommacal@quest.com" userId="S::urn:spo:guest#bertrand.sommacal@quest.com::" providerId="AD" clId="Web-{02BAD892-9C81-4172-BB3A-CAEEC69685CC}"/>
    <pc:docChg chg="delSld modSld modMainMaster modSection">
      <pc:chgData name="bertrand.sommacal@quest.com" userId="S::urn:spo:guest#bertrand.sommacal@quest.com::" providerId="AD" clId="Web-{02BAD892-9C81-4172-BB3A-CAEEC69685CC}" dt="2022-09-26T07:38:51.137" v="4" actId="1076"/>
      <pc:docMkLst>
        <pc:docMk/>
      </pc:docMkLst>
      <pc:sldChg chg="modTransition">
        <pc:chgData name="bertrand.sommacal@quest.com" userId="S::urn:spo:guest#bertrand.sommacal@quest.com::" providerId="AD" clId="Web-{02BAD892-9C81-4172-BB3A-CAEEC69685CC}" dt="2022-09-26T07:37:37.147" v="3"/>
        <pc:sldMkLst>
          <pc:docMk/>
          <pc:sldMk cId="1533911357" sldId="308"/>
        </pc:sldMkLst>
      </pc:sldChg>
      <pc:sldChg chg="modTransition">
        <pc:chgData name="bertrand.sommacal@quest.com" userId="S::urn:spo:guest#bertrand.sommacal@quest.com::" providerId="AD" clId="Web-{02BAD892-9C81-4172-BB3A-CAEEC69685CC}" dt="2022-09-26T07:37:37.147" v="3"/>
        <pc:sldMkLst>
          <pc:docMk/>
          <pc:sldMk cId="751042389" sldId="323"/>
        </pc:sldMkLst>
      </pc:sldChg>
      <pc:sldChg chg="modTransition">
        <pc:chgData name="bertrand.sommacal@quest.com" userId="S::urn:spo:guest#bertrand.sommacal@quest.com::" providerId="AD" clId="Web-{02BAD892-9C81-4172-BB3A-CAEEC69685CC}" dt="2022-09-26T07:37:37.147" v="3"/>
        <pc:sldMkLst>
          <pc:docMk/>
          <pc:sldMk cId="2664601408" sldId="1246"/>
        </pc:sldMkLst>
      </pc:sldChg>
      <pc:sldChg chg="del">
        <pc:chgData name="bertrand.sommacal@quest.com" userId="S::urn:spo:guest#bertrand.sommacal@quest.com::" providerId="AD" clId="Web-{02BAD892-9C81-4172-BB3A-CAEEC69685CC}" dt="2022-09-26T07:33:52.239" v="0"/>
        <pc:sldMkLst>
          <pc:docMk/>
          <pc:sldMk cId="3635637568" sldId="9970"/>
        </pc:sldMkLst>
      </pc:sldChg>
      <pc:sldChg chg="modTransition">
        <pc:chgData name="bertrand.sommacal@quest.com" userId="S::urn:spo:guest#bertrand.sommacal@quest.com::" providerId="AD" clId="Web-{02BAD892-9C81-4172-BB3A-CAEEC69685CC}" dt="2022-09-26T07:37:37.147" v="3"/>
        <pc:sldMkLst>
          <pc:docMk/>
          <pc:sldMk cId="299454938" sldId="10013"/>
        </pc:sldMkLst>
      </pc:sldChg>
      <pc:sldChg chg="modTransition">
        <pc:chgData name="bertrand.sommacal@quest.com" userId="S::urn:spo:guest#bertrand.sommacal@quest.com::" providerId="AD" clId="Web-{02BAD892-9C81-4172-BB3A-CAEEC69685CC}" dt="2022-09-26T07:37:37.147" v="3"/>
        <pc:sldMkLst>
          <pc:docMk/>
          <pc:sldMk cId="505153115" sldId="2134806235"/>
        </pc:sldMkLst>
      </pc:sldChg>
      <pc:sldChg chg="modTransition">
        <pc:chgData name="bertrand.sommacal@quest.com" userId="S::urn:spo:guest#bertrand.sommacal@quest.com::" providerId="AD" clId="Web-{02BAD892-9C81-4172-BB3A-CAEEC69685CC}" dt="2022-09-26T07:37:37.147" v="3"/>
        <pc:sldMkLst>
          <pc:docMk/>
          <pc:sldMk cId="3802723326" sldId="2134806268"/>
        </pc:sldMkLst>
      </pc:sldChg>
      <pc:sldChg chg="modTransition">
        <pc:chgData name="bertrand.sommacal@quest.com" userId="S::urn:spo:guest#bertrand.sommacal@quest.com::" providerId="AD" clId="Web-{02BAD892-9C81-4172-BB3A-CAEEC69685CC}" dt="2022-09-26T07:37:37.147" v="3"/>
        <pc:sldMkLst>
          <pc:docMk/>
          <pc:sldMk cId="0" sldId="2147471528"/>
        </pc:sldMkLst>
      </pc:sldChg>
      <pc:sldChg chg="modTransition">
        <pc:chgData name="bertrand.sommacal@quest.com" userId="S::urn:spo:guest#bertrand.sommacal@quest.com::" providerId="AD" clId="Web-{02BAD892-9C81-4172-BB3A-CAEEC69685CC}" dt="2022-09-26T07:37:37.147" v="3"/>
        <pc:sldMkLst>
          <pc:docMk/>
          <pc:sldMk cId="1616741894" sldId="2147471530"/>
        </pc:sldMkLst>
      </pc:sldChg>
      <pc:sldChg chg="modTransition">
        <pc:chgData name="bertrand.sommacal@quest.com" userId="S::urn:spo:guest#bertrand.sommacal@quest.com::" providerId="AD" clId="Web-{02BAD892-9C81-4172-BB3A-CAEEC69685CC}" dt="2022-09-26T07:37:37.147" v="3"/>
        <pc:sldMkLst>
          <pc:docMk/>
          <pc:sldMk cId="2195262775" sldId="2147471531"/>
        </pc:sldMkLst>
      </pc:sldChg>
      <pc:sldChg chg="modTransition">
        <pc:chgData name="bertrand.sommacal@quest.com" userId="S::urn:spo:guest#bertrand.sommacal@quest.com::" providerId="AD" clId="Web-{02BAD892-9C81-4172-BB3A-CAEEC69685CC}" dt="2022-09-26T07:37:37.147" v="3"/>
        <pc:sldMkLst>
          <pc:docMk/>
          <pc:sldMk cId="297455234" sldId="2147471532"/>
        </pc:sldMkLst>
      </pc:sldChg>
      <pc:sldChg chg="modTransition">
        <pc:chgData name="bertrand.sommacal@quest.com" userId="S::urn:spo:guest#bertrand.sommacal@quest.com::" providerId="AD" clId="Web-{02BAD892-9C81-4172-BB3A-CAEEC69685CC}" dt="2022-09-26T07:37:37.147" v="3"/>
        <pc:sldMkLst>
          <pc:docMk/>
          <pc:sldMk cId="3125849492" sldId="2147471542"/>
        </pc:sldMkLst>
      </pc:sldChg>
      <pc:sldChg chg="modTransition">
        <pc:chgData name="bertrand.sommacal@quest.com" userId="S::urn:spo:guest#bertrand.sommacal@quest.com::" providerId="AD" clId="Web-{02BAD892-9C81-4172-BB3A-CAEEC69685CC}" dt="2022-09-26T07:37:37.147" v="3"/>
        <pc:sldMkLst>
          <pc:docMk/>
          <pc:sldMk cId="1030681138" sldId="2147471543"/>
        </pc:sldMkLst>
      </pc:sldChg>
      <pc:sldChg chg="modSp modTransition">
        <pc:chgData name="bertrand.sommacal@quest.com" userId="S::urn:spo:guest#bertrand.sommacal@quest.com::" providerId="AD" clId="Web-{02BAD892-9C81-4172-BB3A-CAEEC69685CC}" dt="2022-09-26T07:38:51.137" v="4" actId="1076"/>
        <pc:sldMkLst>
          <pc:docMk/>
          <pc:sldMk cId="2278438045" sldId="2147471545"/>
        </pc:sldMkLst>
        <pc:grpChg chg="mod">
          <ac:chgData name="bertrand.sommacal@quest.com" userId="S::urn:spo:guest#bertrand.sommacal@quest.com::" providerId="AD" clId="Web-{02BAD892-9C81-4172-BB3A-CAEEC69685CC}" dt="2022-09-26T07:38:51.137" v="4" actId="1076"/>
          <ac:grpSpMkLst>
            <pc:docMk/>
            <pc:sldMk cId="2278438045" sldId="2147471545"/>
            <ac:grpSpMk id="3" creationId="{701D114D-2D3D-4603-A496-18B910AEB677}"/>
          </ac:grpSpMkLst>
        </pc:grpChg>
      </pc:sldChg>
      <pc:sldChg chg="modTransition">
        <pc:chgData name="bertrand.sommacal@quest.com" userId="S::urn:spo:guest#bertrand.sommacal@quest.com::" providerId="AD" clId="Web-{02BAD892-9C81-4172-BB3A-CAEEC69685CC}" dt="2022-09-26T07:37:37.147" v="3"/>
        <pc:sldMkLst>
          <pc:docMk/>
          <pc:sldMk cId="4134489953" sldId="2147471546"/>
        </pc:sldMkLst>
      </pc:sldChg>
      <pc:sldChg chg="modTransition">
        <pc:chgData name="bertrand.sommacal@quest.com" userId="S::urn:spo:guest#bertrand.sommacal@quest.com::" providerId="AD" clId="Web-{02BAD892-9C81-4172-BB3A-CAEEC69685CC}" dt="2022-09-26T07:37:37.147" v="3"/>
        <pc:sldMkLst>
          <pc:docMk/>
          <pc:sldMk cId="1319830884" sldId="2147471547"/>
        </pc:sldMkLst>
      </pc:sldChg>
      <pc:sldChg chg="modTransition">
        <pc:chgData name="bertrand.sommacal@quest.com" userId="S::urn:spo:guest#bertrand.sommacal@quest.com::" providerId="AD" clId="Web-{02BAD892-9C81-4172-BB3A-CAEEC69685CC}" dt="2022-09-26T07:37:37.147" v="3"/>
        <pc:sldMkLst>
          <pc:docMk/>
          <pc:sldMk cId="4034841113" sldId="2147471548"/>
        </pc:sldMkLst>
      </pc:sldChg>
      <pc:sldChg chg="modTransition">
        <pc:chgData name="bertrand.sommacal@quest.com" userId="S::urn:spo:guest#bertrand.sommacal@quest.com::" providerId="AD" clId="Web-{02BAD892-9C81-4172-BB3A-CAEEC69685CC}" dt="2022-09-26T07:37:37.147" v="3"/>
        <pc:sldMkLst>
          <pc:docMk/>
          <pc:sldMk cId="2186057247" sldId="2147471549"/>
        </pc:sldMkLst>
      </pc:sldChg>
      <pc:sldChg chg="modTransition">
        <pc:chgData name="bertrand.sommacal@quest.com" userId="S::urn:spo:guest#bertrand.sommacal@quest.com::" providerId="AD" clId="Web-{02BAD892-9C81-4172-BB3A-CAEEC69685CC}" dt="2022-09-26T07:37:37.147" v="3"/>
        <pc:sldMkLst>
          <pc:docMk/>
          <pc:sldMk cId="432234890" sldId="2147471551"/>
        </pc:sldMkLst>
      </pc:sldChg>
      <pc:sldMasterChg chg="modTransition modSldLayout">
        <pc:chgData name="bertrand.sommacal@quest.com" userId="S::urn:spo:guest#bertrand.sommacal@quest.com::" providerId="AD" clId="Web-{02BAD892-9C81-4172-BB3A-CAEEC69685CC}" dt="2022-09-26T07:37:37.147" v="3"/>
        <pc:sldMasterMkLst>
          <pc:docMk/>
          <pc:sldMasterMk cId="1758148931" sldId="2147483687"/>
        </pc:sldMasterMkLst>
        <pc:sldLayoutChg chg="modTransition">
          <pc:chgData name="bertrand.sommacal@quest.com" userId="S::urn:spo:guest#bertrand.sommacal@quest.com::" providerId="AD" clId="Web-{02BAD892-9C81-4172-BB3A-CAEEC69685CC}" dt="2022-09-26T07:37:37.147" v="3"/>
          <pc:sldLayoutMkLst>
            <pc:docMk/>
            <pc:sldMasterMk cId="1758148931" sldId="2147483687"/>
            <pc:sldLayoutMk cId="819325132" sldId="2147483688"/>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3500537401" sldId="2147483689"/>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3118438590" sldId="2147483690"/>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4115258159" sldId="2147483691"/>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918776410" sldId="2147483692"/>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488812918" sldId="2147483693"/>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2224466" sldId="2147483694"/>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1416135253" sldId="2147483695"/>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591896772" sldId="2147483696"/>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276419660" sldId="2147483697"/>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361638891" sldId="2147483698"/>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634678455" sldId="2147483699"/>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895007890" sldId="2147483700"/>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648556173" sldId="2147483701"/>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4113489913" sldId="2147483702"/>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4000853285" sldId="2147483703"/>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1797332940" sldId="2147483704"/>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745060807" sldId="2147483705"/>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3618343338" sldId="2147483706"/>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2396922837" sldId="2147483707"/>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3818634477" sldId="2147483708"/>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70225000" sldId="2147483709"/>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474005220" sldId="2147483710"/>
          </pc:sldLayoutMkLst>
        </pc:sldLayoutChg>
        <pc:sldLayoutChg chg="modTransition">
          <pc:chgData name="bertrand.sommacal@quest.com" userId="S::urn:spo:guest#bertrand.sommacal@quest.com::" providerId="AD" clId="Web-{02BAD892-9C81-4172-BB3A-CAEEC69685CC}" dt="2022-09-26T07:37:37.147" v="3"/>
          <pc:sldLayoutMkLst>
            <pc:docMk/>
            <pc:sldMasterMk cId="1758148931" sldId="2147483687"/>
            <pc:sldLayoutMk cId="1663276170" sldId="2147483711"/>
          </pc:sldLayoutMkLst>
        </pc:sldLayoutChg>
      </pc:sldMasterChg>
    </pc:docChg>
  </pc:docChgLst>
  <pc:docChgLst>
    <pc:chgData name="Pyplacz, Romina" userId="cef27d05-a6da-4703-9764-b760f1130f33" providerId="ADAL" clId="{E9950FC7-53FD-3B42-8B97-7855864C8853}"/>
    <pc:docChg chg="modShowInfo">
      <pc:chgData name="Pyplacz, Romina" userId="cef27d05-a6da-4703-9764-b760f1130f33" providerId="ADAL" clId="{E9950FC7-53FD-3B42-8B97-7855864C8853}" dt="2022-08-05T14:28:18.043" v="1" actId="2744"/>
      <pc:docMkLst>
        <pc:docMk/>
      </pc:docMkLst>
    </pc:docChg>
  </pc:docChgLst>
  <pc:docChgLst>
    <pc:chgData name="Zabolotna, Kateryna" userId="724a1d14-7a1d-4ba3-a47b-ab98eba40d1a" providerId="ADAL" clId="{741D155D-154A-864A-B742-B54F588DFAA4}"/>
    <pc:docChg chg="modSld">
      <pc:chgData name="Zabolotna, Kateryna" userId="724a1d14-7a1d-4ba3-a47b-ab98eba40d1a" providerId="ADAL" clId="{741D155D-154A-864A-B742-B54F588DFAA4}" dt="2022-09-26T06:43:15.375" v="0" actId="1076"/>
      <pc:docMkLst>
        <pc:docMk/>
      </pc:docMkLst>
      <pc:sldChg chg="modSp">
        <pc:chgData name="Zabolotna, Kateryna" userId="724a1d14-7a1d-4ba3-a47b-ab98eba40d1a" providerId="ADAL" clId="{741D155D-154A-864A-B742-B54F588DFAA4}" dt="2022-09-26T06:43:15.375" v="0" actId="1076"/>
        <pc:sldMkLst>
          <pc:docMk/>
          <pc:sldMk cId="2195262775" sldId="2147471531"/>
        </pc:sldMkLst>
        <pc:spChg chg="mod">
          <ac:chgData name="Zabolotna, Kateryna" userId="724a1d14-7a1d-4ba3-a47b-ab98eba40d1a" providerId="ADAL" clId="{741D155D-154A-864A-B742-B54F588DFAA4}" dt="2022-09-26T06:43:15.375" v="0" actId="1076"/>
          <ac:spMkLst>
            <pc:docMk/>
            <pc:sldMk cId="2195262775" sldId="2147471531"/>
            <ac:spMk id="8" creationId="{CAEF6CBD-A178-6D46-8BBB-52790870B985}"/>
          </ac:spMkLst>
        </pc:spChg>
      </pc:sldChg>
    </pc:docChg>
  </pc:docChgLst>
  <pc:docChgLst>
    <pc:chgData name="Monoranu, Madalina-Ecaterina" userId="fac985ae-efb5-4e1b-b69d-8dda361b6912" providerId="ADAL" clId="{F6DD84B3-4AFB-4C1F-952C-203E3B20DA47}"/>
    <pc:docChg chg="undo custSel delSld modSld delMainMaster delSection modSection">
      <pc:chgData name="Monoranu, Madalina-Ecaterina" userId="fac985ae-efb5-4e1b-b69d-8dda361b6912" providerId="ADAL" clId="{F6DD84B3-4AFB-4C1F-952C-203E3B20DA47}" dt="2022-09-26T07:01:43.141" v="108" actId="1038"/>
      <pc:docMkLst>
        <pc:docMk/>
      </pc:docMkLst>
      <pc:sldChg chg="addSp delSp modSp mod modAnim">
        <pc:chgData name="Monoranu, Madalina-Ecaterina" userId="fac985ae-efb5-4e1b-b69d-8dda361b6912" providerId="ADAL" clId="{F6DD84B3-4AFB-4C1F-952C-203E3B20DA47}" dt="2022-09-26T07:01:43.141" v="108" actId="1038"/>
        <pc:sldMkLst>
          <pc:docMk/>
          <pc:sldMk cId="1533911357" sldId="308"/>
        </pc:sldMkLst>
        <pc:spChg chg="add mod ord">
          <ac:chgData name="Monoranu, Madalina-Ecaterina" userId="fac985ae-efb5-4e1b-b69d-8dda361b6912" providerId="ADAL" clId="{F6DD84B3-4AFB-4C1F-952C-203E3B20DA47}" dt="2022-09-26T07:01:38.051" v="105" actId="167"/>
          <ac:spMkLst>
            <pc:docMk/>
            <pc:sldMk cId="1533911357" sldId="308"/>
            <ac:spMk id="3" creationId="{50E223F0-57A9-4EAC-9AED-24FA97CDCA4E}"/>
          </ac:spMkLst>
        </pc:spChg>
        <pc:spChg chg="add mod">
          <ac:chgData name="Monoranu, Madalina-Ecaterina" userId="fac985ae-efb5-4e1b-b69d-8dda361b6912" providerId="ADAL" clId="{F6DD84B3-4AFB-4C1F-952C-203E3B20DA47}" dt="2022-09-26T06:57:11.315" v="83" actId="14100"/>
          <ac:spMkLst>
            <pc:docMk/>
            <pc:sldMk cId="1533911357" sldId="308"/>
            <ac:spMk id="58" creationId="{FA443F62-1574-4380-BCF7-9DE085A2F3A1}"/>
          </ac:spMkLst>
        </pc:spChg>
        <pc:spChg chg="add mod">
          <ac:chgData name="Monoranu, Madalina-Ecaterina" userId="fac985ae-efb5-4e1b-b69d-8dda361b6912" providerId="ADAL" clId="{F6DD84B3-4AFB-4C1F-952C-203E3B20DA47}" dt="2022-09-26T06:57:06.088" v="81"/>
          <ac:spMkLst>
            <pc:docMk/>
            <pc:sldMk cId="1533911357" sldId="308"/>
            <ac:spMk id="59" creationId="{6BE89585-BFDA-42D8-ACFA-42C1E7405D93}"/>
          </ac:spMkLst>
        </pc:spChg>
        <pc:spChg chg="mod ord">
          <ac:chgData name="Monoranu, Madalina-Ecaterina" userId="fac985ae-efb5-4e1b-b69d-8dda361b6912" providerId="ADAL" clId="{F6DD84B3-4AFB-4C1F-952C-203E3B20DA47}" dt="2022-09-26T07:01:32.766" v="103" actId="167"/>
          <ac:spMkLst>
            <pc:docMk/>
            <pc:sldMk cId="1533911357" sldId="308"/>
            <ac:spMk id="61" creationId="{C6D2EB95-8E83-A77E-E78E-DA5C56F8F946}"/>
          </ac:spMkLst>
        </pc:spChg>
        <pc:spChg chg="del mod">
          <ac:chgData name="Monoranu, Madalina-Ecaterina" userId="fac985ae-efb5-4e1b-b69d-8dda361b6912" providerId="ADAL" clId="{F6DD84B3-4AFB-4C1F-952C-203E3B20DA47}" dt="2022-09-26T06:57:13.901" v="84" actId="478"/>
          <ac:spMkLst>
            <pc:docMk/>
            <pc:sldMk cId="1533911357" sldId="308"/>
            <ac:spMk id="63" creationId="{721F8BFF-DB79-6845-73EF-B43FF4660904}"/>
          </ac:spMkLst>
        </pc:spChg>
        <pc:spChg chg="del">
          <ac:chgData name="Monoranu, Madalina-Ecaterina" userId="fac985ae-efb5-4e1b-b69d-8dda361b6912" providerId="ADAL" clId="{F6DD84B3-4AFB-4C1F-952C-203E3B20DA47}" dt="2022-09-26T06:54:50.100" v="32" actId="478"/>
          <ac:spMkLst>
            <pc:docMk/>
            <pc:sldMk cId="1533911357" sldId="308"/>
            <ac:spMk id="74" creationId="{7A801028-DF5B-5C83-7C42-94B6D4BCB816}"/>
          </ac:spMkLst>
        </pc:spChg>
        <pc:picChg chg="add mod">
          <ac:chgData name="Monoranu, Madalina-Ecaterina" userId="fac985ae-efb5-4e1b-b69d-8dda361b6912" providerId="ADAL" clId="{F6DD84B3-4AFB-4C1F-952C-203E3B20DA47}" dt="2022-09-26T07:01:43.141" v="108" actId="1038"/>
          <ac:picMkLst>
            <pc:docMk/>
            <pc:sldMk cId="1533911357" sldId="308"/>
            <ac:picMk id="8" creationId="{DCDF90C7-F522-4064-89B4-F901D6D1516F}"/>
          </ac:picMkLst>
        </pc:picChg>
        <pc:picChg chg="add mod">
          <ac:chgData name="Monoranu, Madalina-Ecaterina" userId="fac985ae-efb5-4e1b-b69d-8dda361b6912" providerId="ADAL" clId="{F6DD84B3-4AFB-4C1F-952C-203E3B20DA47}" dt="2022-09-26T06:57:21.134" v="86" actId="1076"/>
          <ac:picMkLst>
            <pc:docMk/>
            <pc:sldMk cId="1533911357" sldId="308"/>
            <ac:picMk id="62" creationId="{F14F07B9-3E4E-4B13-B19B-901FF5837F3B}"/>
          </ac:picMkLst>
        </pc:picChg>
      </pc:sldChg>
      <pc:sldChg chg="modSp mod">
        <pc:chgData name="Monoranu, Madalina-Ecaterina" userId="fac985ae-efb5-4e1b-b69d-8dda361b6912" providerId="ADAL" clId="{F6DD84B3-4AFB-4C1F-952C-203E3B20DA47}" dt="2022-09-26T07:00:04.266" v="94" actId="20577"/>
        <pc:sldMkLst>
          <pc:docMk/>
          <pc:sldMk cId="299454938" sldId="10013"/>
        </pc:sldMkLst>
        <pc:spChg chg="mod">
          <ac:chgData name="Monoranu, Madalina-Ecaterina" userId="fac985ae-efb5-4e1b-b69d-8dda361b6912" providerId="ADAL" clId="{F6DD84B3-4AFB-4C1F-952C-203E3B20DA47}" dt="2022-09-26T07:00:04.266" v="94" actId="20577"/>
          <ac:spMkLst>
            <pc:docMk/>
            <pc:sldMk cId="299454938" sldId="10013"/>
            <ac:spMk id="8" creationId="{CAEF6CBD-A178-6D46-8BBB-52790870B985}"/>
          </ac:spMkLst>
        </pc:spChg>
      </pc:sldChg>
      <pc:sldChg chg="del">
        <pc:chgData name="Monoranu, Madalina-Ecaterina" userId="fac985ae-efb5-4e1b-b69d-8dda361b6912" providerId="ADAL" clId="{F6DD84B3-4AFB-4C1F-952C-203E3B20DA47}" dt="2022-09-26T06:57:57.508" v="89" actId="47"/>
        <pc:sldMkLst>
          <pc:docMk/>
          <pc:sldMk cId="2288040920" sldId="2134806184"/>
        </pc:sldMkLst>
      </pc:sldChg>
      <pc:sldChg chg="del">
        <pc:chgData name="Monoranu, Madalina-Ecaterina" userId="fac985ae-efb5-4e1b-b69d-8dda361b6912" providerId="ADAL" clId="{F6DD84B3-4AFB-4C1F-952C-203E3B20DA47}" dt="2022-09-26T06:57:57.508" v="89" actId="47"/>
        <pc:sldMkLst>
          <pc:docMk/>
          <pc:sldMk cId="1610275260" sldId="2134806185"/>
        </pc:sldMkLst>
      </pc:sldChg>
      <pc:sldChg chg="del">
        <pc:chgData name="Monoranu, Madalina-Ecaterina" userId="fac985ae-efb5-4e1b-b69d-8dda361b6912" providerId="ADAL" clId="{F6DD84B3-4AFB-4C1F-952C-203E3B20DA47}" dt="2022-09-26T06:57:57.508" v="89" actId="47"/>
        <pc:sldMkLst>
          <pc:docMk/>
          <pc:sldMk cId="2125077354" sldId="2134806186"/>
        </pc:sldMkLst>
      </pc:sldChg>
      <pc:sldChg chg="del">
        <pc:chgData name="Monoranu, Madalina-Ecaterina" userId="fac985ae-efb5-4e1b-b69d-8dda361b6912" providerId="ADAL" clId="{F6DD84B3-4AFB-4C1F-952C-203E3B20DA47}" dt="2022-09-26T06:57:57.508" v="89" actId="47"/>
        <pc:sldMkLst>
          <pc:docMk/>
          <pc:sldMk cId="2810389484" sldId="2134806190"/>
        </pc:sldMkLst>
      </pc:sldChg>
      <pc:sldChg chg="del">
        <pc:chgData name="Monoranu, Madalina-Ecaterina" userId="fac985ae-efb5-4e1b-b69d-8dda361b6912" providerId="ADAL" clId="{F6DD84B3-4AFB-4C1F-952C-203E3B20DA47}" dt="2022-09-26T06:57:57.508" v="89" actId="47"/>
        <pc:sldMkLst>
          <pc:docMk/>
          <pc:sldMk cId="4287523308" sldId="2134806241"/>
        </pc:sldMkLst>
      </pc:sldChg>
      <pc:sldChg chg="del">
        <pc:chgData name="Monoranu, Madalina-Ecaterina" userId="fac985ae-efb5-4e1b-b69d-8dda361b6912" providerId="ADAL" clId="{F6DD84B3-4AFB-4C1F-952C-203E3B20DA47}" dt="2022-09-26T06:57:57.508" v="89" actId="47"/>
        <pc:sldMkLst>
          <pc:docMk/>
          <pc:sldMk cId="2833642024" sldId="2134806252"/>
        </pc:sldMkLst>
      </pc:sldChg>
      <pc:sldChg chg="del">
        <pc:chgData name="Monoranu, Madalina-Ecaterina" userId="fac985ae-efb5-4e1b-b69d-8dda361b6912" providerId="ADAL" clId="{F6DD84B3-4AFB-4C1F-952C-203E3B20DA47}" dt="2022-09-26T06:57:57.508" v="89" actId="47"/>
        <pc:sldMkLst>
          <pc:docMk/>
          <pc:sldMk cId="3450614615" sldId="2134806253"/>
        </pc:sldMkLst>
      </pc:sldChg>
      <pc:sldChg chg="del">
        <pc:chgData name="Monoranu, Madalina-Ecaterina" userId="fac985ae-efb5-4e1b-b69d-8dda361b6912" providerId="ADAL" clId="{F6DD84B3-4AFB-4C1F-952C-203E3B20DA47}" dt="2022-09-26T06:57:57.508" v="89" actId="47"/>
        <pc:sldMkLst>
          <pc:docMk/>
          <pc:sldMk cId="1544314198" sldId="2134806254"/>
        </pc:sldMkLst>
      </pc:sldChg>
      <pc:sldChg chg="del">
        <pc:chgData name="Monoranu, Madalina-Ecaterina" userId="fac985ae-efb5-4e1b-b69d-8dda361b6912" providerId="ADAL" clId="{F6DD84B3-4AFB-4C1F-952C-203E3B20DA47}" dt="2022-09-26T06:57:57.508" v="89" actId="47"/>
        <pc:sldMkLst>
          <pc:docMk/>
          <pc:sldMk cId="3398361931" sldId="2134806255"/>
        </pc:sldMkLst>
      </pc:sldChg>
      <pc:sldChg chg="del">
        <pc:chgData name="Monoranu, Madalina-Ecaterina" userId="fac985ae-efb5-4e1b-b69d-8dda361b6912" providerId="ADAL" clId="{F6DD84B3-4AFB-4C1F-952C-203E3B20DA47}" dt="2022-09-26T06:57:57.508" v="89" actId="47"/>
        <pc:sldMkLst>
          <pc:docMk/>
          <pc:sldMk cId="2338792719" sldId="2134806256"/>
        </pc:sldMkLst>
      </pc:sldChg>
      <pc:sldChg chg="del">
        <pc:chgData name="Monoranu, Madalina-Ecaterina" userId="fac985ae-efb5-4e1b-b69d-8dda361b6912" providerId="ADAL" clId="{F6DD84B3-4AFB-4C1F-952C-203E3B20DA47}" dt="2022-09-26T06:57:57.508" v="89" actId="47"/>
        <pc:sldMkLst>
          <pc:docMk/>
          <pc:sldMk cId="1142236548" sldId="2134806257"/>
        </pc:sldMkLst>
      </pc:sldChg>
      <pc:sldChg chg="del">
        <pc:chgData name="Monoranu, Madalina-Ecaterina" userId="fac985ae-efb5-4e1b-b69d-8dda361b6912" providerId="ADAL" clId="{F6DD84B3-4AFB-4C1F-952C-203E3B20DA47}" dt="2022-09-26T06:57:57.508" v="89" actId="47"/>
        <pc:sldMkLst>
          <pc:docMk/>
          <pc:sldMk cId="833292902" sldId="2134806258"/>
        </pc:sldMkLst>
      </pc:sldChg>
      <pc:sldChg chg="del">
        <pc:chgData name="Monoranu, Madalina-Ecaterina" userId="fac985ae-efb5-4e1b-b69d-8dda361b6912" providerId="ADAL" clId="{F6DD84B3-4AFB-4C1F-952C-203E3B20DA47}" dt="2022-09-26T06:57:57.508" v="89" actId="47"/>
        <pc:sldMkLst>
          <pc:docMk/>
          <pc:sldMk cId="578334656" sldId="2134806259"/>
        </pc:sldMkLst>
      </pc:sldChg>
      <pc:sldChg chg="del">
        <pc:chgData name="Monoranu, Madalina-Ecaterina" userId="fac985ae-efb5-4e1b-b69d-8dda361b6912" providerId="ADAL" clId="{F6DD84B3-4AFB-4C1F-952C-203E3B20DA47}" dt="2022-09-26T06:57:57.508" v="89" actId="47"/>
        <pc:sldMkLst>
          <pc:docMk/>
          <pc:sldMk cId="1959459534" sldId="2134806265"/>
        </pc:sldMkLst>
      </pc:sldChg>
      <pc:sldChg chg="del">
        <pc:chgData name="Monoranu, Madalina-Ecaterina" userId="fac985ae-efb5-4e1b-b69d-8dda361b6912" providerId="ADAL" clId="{F6DD84B3-4AFB-4C1F-952C-203E3B20DA47}" dt="2022-09-26T06:57:57.508" v="89" actId="47"/>
        <pc:sldMkLst>
          <pc:docMk/>
          <pc:sldMk cId="2465727064" sldId="2134806266"/>
        </pc:sldMkLst>
      </pc:sldChg>
      <pc:sldChg chg="del">
        <pc:chgData name="Monoranu, Madalina-Ecaterina" userId="fac985ae-efb5-4e1b-b69d-8dda361b6912" providerId="ADAL" clId="{F6DD84B3-4AFB-4C1F-952C-203E3B20DA47}" dt="2022-09-26T06:57:57.508" v="89" actId="47"/>
        <pc:sldMkLst>
          <pc:docMk/>
          <pc:sldMk cId="1956464481" sldId="2147471512"/>
        </pc:sldMkLst>
      </pc:sldChg>
      <pc:sldChg chg="del">
        <pc:chgData name="Monoranu, Madalina-Ecaterina" userId="fac985ae-efb5-4e1b-b69d-8dda361b6912" providerId="ADAL" clId="{F6DD84B3-4AFB-4C1F-952C-203E3B20DA47}" dt="2022-09-26T06:57:57.508" v="89" actId="47"/>
        <pc:sldMkLst>
          <pc:docMk/>
          <pc:sldMk cId="3979925538" sldId="2147471520"/>
        </pc:sldMkLst>
      </pc:sldChg>
      <pc:sldChg chg="del">
        <pc:chgData name="Monoranu, Madalina-Ecaterina" userId="fac985ae-efb5-4e1b-b69d-8dda361b6912" providerId="ADAL" clId="{F6DD84B3-4AFB-4C1F-952C-203E3B20DA47}" dt="2022-09-26T06:57:57.508" v="89" actId="47"/>
        <pc:sldMkLst>
          <pc:docMk/>
          <pc:sldMk cId="2193004965" sldId="2147471526"/>
        </pc:sldMkLst>
      </pc:sldChg>
      <pc:sldChg chg="del">
        <pc:chgData name="Monoranu, Madalina-Ecaterina" userId="fac985ae-efb5-4e1b-b69d-8dda361b6912" providerId="ADAL" clId="{F6DD84B3-4AFB-4C1F-952C-203E3B20DA47}" dt="2022-09-26T06:57:57.508" v="89" actId="47"/>
        <pc:sldMkLst>
          <pc:docMk/>
          <pc:sldMk cId="1383871180" sldId="2147471527"/>
        </pc:sldMkLst>
      </pc:sldChg>
      <pc:sldChg chg="modSp mod">
        <pc:chgData name="Monoranu, Madalina-Ecaterina" userId="fac985ae-efb5-4e1b-b69d-8dda361b6912" providerId="ADAL" clId="{F6DD84B3-4AFB-4C1F-952C-203E3B20DA47}" dt="2022-09-26T06:59:01.356" v="90" actId="20577"/>
        <pc:sldMkLst>
          <pc:docMk/>
          <pc:sldMk cId="1616741894" sldId="2147471530"/>
        </pc:sldMkLst>
        <pc:spChg chg="mod">
          <ac:chgData name="Monoranu, Madalina-Ecaterina" userId="fac985ae-efb5-4e1b-b69d-8dda361b6912" providerId="ADAL" clId="{F6DD84B3-4AFB-4C1F-952C-203E3B20DA47}" dt="2022-09-26T06:59:01.356" v="90" actId="20577"/>
          <ac:spMkLst>
            <pc:docMk/>
            <pc:sldMk cId="1616741894" sldId="2147471530"/>
            <ac:spMk id="8" creationId="{CAEF6CBD-A178-6D46-8BBB-52790870B985}"/>
          </ac:spMkLst>
        </pc:spChg>
      </pc:sldChg>
      <pc:sldChg chg="modSp mod">
        <pc:chgData name="Monoranu, Madalina-Ecaterina" userId="fac985ae-efb5-4e1b-b69d-8dda361b6912" providerId="ADAL" clId="{F6DD84B3-4AFB-4C1F-952C-203E3B20DA47}" dt="2022-09-26T06:51:44.187" v="17" actId="20577"/>
        <pc:sldMkLst>
          <pc:docMk/>
          <pc:sldMk cId="2195262775" sldId="2147471531"/>
        </pc:sldMkLst>
        <pc:spChg chg="mod">
          <ac:chgData name="Monoranu, Madalina-Ecaterina" userId="fac985ae-efb5-4e1b-b69d-8dda361b6912" providerId="ADAL" clId="{F6DD84B3-4AFB-4C1F-952C-203E3B20DA47}" dt="2022-09-26T06:51:44.187" v="17" actId="20577"/>
          <ac:spMkLst>
            <pc:docMk/>
            <pc:sldMk cId="2195262775" sldId="2147471531"/>
            <ac:spMk id="8" creationId="{CAEF6CBD-A178-6D46-8BBB-52790870B985}"/>
          </ac:spMkLst>
        </pc:spChg>
      </pc:sldChg>
      <pc:sldChg chg="del">
        <pc:chgData name="Monoranu, Madalina-Ecaterina" userId="fac985ae-efb5-4e1b-b69d-8dda361b6912" providerId="ADAL" clId="{F6DD84B3-4AFB-4C1F-952C-203E3B20DA47}" dt="2022-09-26T06:57:41.854" v="87" actId="47"/>
        <pc:sldMkLst>
          <pc:docMk/>
          <pc:sldMk cId="3258130833" sldId="2147471533"/>
        </pc:sldMkLst>
      </pc:sldChg>
      <pc:sldChg chg="del">
        <pc:chgData name="Monoranu, Madalina-Ecaterina" userId="fac985ae-efb5-4e1b-b69d-8dda361b6912" providerId="ADAL" clId="{F6DD84B3-4AFB-4C1F-952C-203E3B20DA47}" dt="2022-09-26T06:57:57.508" v="89" actId="47"/>
        <pc:sldMkLst>
          <pc:docMk/>
          <pc:sldMk cId="1651607658" sldId="2147471537"/>
        </pc:sldMkLst>
      </pc:sldChg>
      <pc:sldChg chg="del">
        <pc:chgData name="Monoranu, Madalina-Ecaterina" userId="fac985ae-efb5-4e1b-b69d-8dda361b6912" providerId="ADAL" clId="{F6DD84B3-4AFB-4C1F-952C-203E3B20DA47}" dt="2022-09-26T06:57:57.508" v="89" actId="47"/>
        <pc:sldMkLst>
          <pc:docMk/>
          <pc:sldMk cId="1706511124" sldId="2147471538"/>
        </pc:sldMkLst>
      </pc:sldChg>
      <pc:sldChg chg="del">
        <pc:chgData name="Monoranu, Madalina-Ecaterina" userId="fac985ae-efb5-4e1b-b69d-8dda361b6912" providerId="ADAL" clId="{F6DD84B3-4AFB-4C1F-952C-203E3B20DA47}" dt="2022-09-26T06:57:57.508" v="89" actId="47"/>
        <pc:sldMkLst>
          <pc:docMk/>
          <pc:sldMk cId="1850038620" sldId="2147471539"/>
        </pc:sldMkLst>
      </pc:sldChg>
      <pc:sldChg chg="del">
        <pc:chgData name="Monoranu, Madalina-Ecaterina" userId="fac985ae-efb5-4e1b-b69d-8dda361b6912" providerId="ADAL" clId="{F6DD84B3-4AFB-4C1F-952C-203E3B20DA47}" dt="2022-09-26T06:57:57.508" v="89" actId="47"/>
        <pc:sldMkLst>
          <pc:docMk/>
          <pc:sldMk cId="1342824725" sldId="2147471540"/>
        </pc:sldMkLst>
      </pc:sldChg>
      <pc:sldChg chg="modAnim">
        <pc:chgData name="Monoranu, Madalina-Ecaterina" userId="fac985ae-efb5-4e1b-b69d-8dda361b6912" providerId="ADAL" clId="{F6DD84B3-4AFB-4C1F-952C-203E3B20DA47}" dt="2022-09-26T07:00:46.434" v="95"/>
        <pc:sldMkLst>
          <pc:docMk/>
          <pc:sldMk cId="3125849492" sldId="2147471542"/>
        </pc:sldMkLst>
      </pc:sldChg>
      <pc:sldChg chg="modTransition">
        <pc:chgData name="Monoranu, Madalina-Ecaterina" userId="fac985ae-efb5-4e1b-b69d-8dda361b6912" providerId="ADAL" clId="{F6DD84B3-4AFB-4C1F-952C-203E3B20DA47}" dt="2022-09-26T06:59:33.483" v="91"/>
        <pc:sldMkLst>
          <pc:docMk/>
          <pc:sldMk cId="2278438045" sldId="2147471545"/>
        </pc:sldMkLst>
      </pc:sldChg>
      <pc:sldMasterChg chg="del delSldLayout">
        <pc:chgData name="Monoranu, Madalina-Ecaterina" userId="fac985ae-efb5-4e1b-b69d-8dda361b6912" providerId="ADAL" clId="{F6DD84B3-4AFB-4C1F-952C-203E3B20DA47}" dt="2022-09-26T06:57:57.508" v="89" actId="47"/>
        <pc:sldMasterMkLst>
          <pc:docMk/>
          <pc:sldMasterMk cId="1774241567" sldId="2147483712"/>
        </pc:sldMasterMkLst>
        <pc:sldLayoutChg chg="del">
          <pc:chgData name="Monoranu, Madalina-Ecaterina" userId="fac985ae-efb5-4e1b-b69d-8dda361b6912" providerId="ADAL" clId="{F6DD84B3-4AFB-4C1F-952C-203E3B20DA47}" dt="2022-09-26T06:57:57.508" v="89" actId="47"/>
          <pc:sldLayoutMkLst>
            <pc:docMk/>
            <pc:sldMasterMk cId="1774241567" sldId="2147483712"/>
            <pc:sldLayoutMk cId="1660415030" sldId="2147483713"/>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4044273829" sldId="2147483714"/>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838592973" sldId="2147483715"/>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430001815" sldId="2147483716"/>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752580348" sldId="2147483717"/>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723881224" sldId="2147483718"/>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2067728162" sldId="2147483719"/>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2401485450" sldId="2147483720"/>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2268495494" sldId="2147483721"/>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3062229901" sldId="2147483722"/>
          </pc:sldLayoutMkLst>
        </pc:sldLayoutChg>
        <pc:sldLayoutChg chg="del">
          <pc:chgData name="Monoranu, Madalina-Ecaterina" userId="fac985ae-efb5-4e1b-b69d-8dda361b6912" providerId="ADAL" clId="{F6DD84B3-4AFB-4C1F-952C-203E3B20DA47}" dt="2022-09-26T06:57:57.508" v="89" actId="47"/>
          <pc:sldLayoutMkLst>
            <pc:docMk/>
            <pc:sldMasterMk cId="1774241567" sldId="2147483712"/>
            <pc:sldLayoutMk cId="2747684741" sldId="2147483723"/>
          </pc:sldLayoutMkLst>
        </pc:sldLayoutChg>
      </pc:sldMasterChg>
    </pc:docChg>
  </pc:docChgLst>
  <pc:docChgLst>
    <pc:chgData name="Tanasachi, Anca" userId="S::a68999@eon.com::a5290f26-9a81-4c2d-ad72-ccd5ce7af564" providerId="AD" clId="Web-{253E80B5-FE24-423B-8FBA-4C6FC63B3FDB}"/>
    <pc:docChg chg="modSld">
      <pc:chgData name="Tanasachi, Anca" userId="S::a68999@eon.com::a5290f26-9a81-4c2d-ad72-ccd5ce7af564" providerId="AD" clId="Web-{253E80B5-FE24-423B-8FBA-4C6FC63B3FDB}" dt="2022-11-01T12:14:24.709" v="1" actId="1076"/>
      <pc:docMkLst>
        <pc:docMk/>
      </pc:docMkLst>
      <pc:sldChg chg="modSp">
        <pc:chgData name="Tanasachi, Anca" userId="S::a68999@eon.com::a5290f26-9a81-4c2d-ad72-ccd5ce7af564" providerId="AD" clId="Web-{253E80B5-FE24-423B-8FBA-4C6FC63B3FDB}" dt="2022-11-01T12:14:24.709" v="1" actId="1076"/>
        <pc:sldMkLst>
          <pc:docMk/>
          <pc:sldMk cId="0" sldId="2147471528"/>
        </pc:sldMkLst>
        <pc:grpChg chg="mod">
          <ac:chgData name="Tanasachi, Anca" userId="S::a68999@eon.com::a5290f26-9a81-4c2d-ad72-ccd5ce7af564" providerId="AD" clId="Web-{253E80B5-FE24-423B-8FBA-4C6FC63B3FDB}" dt="2022-11-01T12:14:24.709" v="1" actId="1076"/>
          <ac:grpSpMkLst>
            <pc:docMk/>
            <pc:sldMk cId="0" sldId="2147471528"/>
            <ac:grpSpMk id="3" creationId="{FCE06CD3-219C-47CA-876D-532F0357E25F}"/>
          </ac:grpSpMkLst>
        </pc:grpChg>
      </pc:sldChg>
    </pc:docChg>
  </pc:docChgLst>
  <pc:docChgLst>
    <pc:chgData name="Zabolotna, Kateryna" userId="S::k27161@eon.com::724a1d14-7a1d-4ba3-a47b-ab98eba40d1a" providerId="AD" clId="Web-{DBB88902-1E8B-455F-A492-9C1001FA4A42}"/>
    <pc:docChg chg="modSld">
      <pc:chgData name="Zabolotna, Kateryna" userId="S::k27161@eon.com::724a1d14-7a1d-4ba3-a47b-ab98eba40d1a" providerId="AD" clId="Web-{DBB88902-1E8B-455F-A492-9C1001FA4A42}" dt="2022-08-29T14:39:38.920" v="8" actId="20577"/>
      <pc:docMkLst>
        <pc:docMk/>
      </pc:docMkLst>
      <pc:sldChg chg="addSp delSp modSp">
        <pc:chgData name="Zabolotna, Kateryna" userId="S::k27161@eon.com::724a1d14-7a1d-4ba3-a47b-ab98eba40d1a" providerId="AD" clId="Web-{DBB88902-1E8B-455F-A492-9C1001FA4A42}" dt="2022-08-29T14:39:38.920" v="8" actId="20577"/>
        <pc:sldMkLst>
          <pc:docMk/>
          <pc:sldMk cId="1319830884" sldId="2147471547"/>
        </pc:sldMkLst>
        <pc:spChg chg="mod">
          <ac:chgData name="Zabolotna, Kateryna" userId="S::k27161@eon.com::724a1d14-7a1d-4ba3-a47b-ab98eba40d1a" providerId="AD" clId="Web-{DBB88902-1E8B-455F-A492-9C1001FA4A42}" dt="2022-08-29T14:38:25.996" v="0"/>
          <ac:spMkLst>
            <pc:docMk/>
            <pc:sldMk cId="1319830884" sldId="2147471547"/>
            <ac:spMk id="14" creationId="{00000000-0000-0000-0000-000000000000}"/>
          </ac:spMkLst>
        </pc:spChg>
        <pc:spChg chg="mod">
          <ac:chgData name="Zabolotna, Kateryna" userId="S::k27161@eon.com::724a1d14-7a1d-4ba3-a47b-ab98eba40d1a" providerId="AD" clId="Web-{DBB88902-1E8B-455F-A492-9C1001FA4A42}" dt="2022-08-29T14:39:38.920" v="8" actId="20577"/>
          <ac:spMkLst>
            <pc:docMk/>
            <pc:sldMk cId="1319830884" sldId="2147471547"/>
            <ac:spMk id="30" creationId="{38D3F8EC-E66D-4957-878B-B01240227C28}"/>
          </ac:spMkLst>
        </pc:spChg>
        <pc:spChg chg="mod">
          <ac:chgData name="Zabolotna, Kateryna" userId="S::k27161@eon.com::724a1d14-7a1d-4ba3-a47b-ab98eba40d1a" providerId="AD" clId="Web-{DBB88902-1E8B-455F-A492-9C1001FA4A42}" dt="2022-08-29T14:39:32.154" v="6" actId="20577"/>
          <ac:spMkLst>
            <pc:docMk/>
            <pc:sldMk cId="1319830884" sldId="2147471547"/>
            <ac:spMk id="32" creationId="{00000000-0000-0000-0000-000000000000}"/>
          </ac:spMkLst>
        </pc:spChg>
        <pc:spChg chg="mod">
          <ac:chgData name="Zabolotna, Kateryna" userId="S::k27161@eon.com::724a1d14-7a1d-4ba3-a47b-ab98eba40d1a" providerId="AD" clId="Web-{DBB88902-1E8B-455F-A492-9C1001FA4A42}" dt="2022-08-29T14:39:29.154" v="5" actId="20577"/>
          <ac:spMkLst>
            <pc:docMk/>
            <pc:sldMk cId="1319830884" sldId="2147471547"/>
            <ac:spMk id="33" creationId="{00000000-0000-0000-0000-000000000000}"/>
          </ac:spMkLst>
        </pc:spChg>
        <pc:spChg chg="mod">
          <ac:chgData name="Zabolotna, Kateryna" userId="S::k27161@eon.com::724a1d14-7a1d-4ba3-a47b-ab98eba40d1a" providerId="AD" clId="Web-{DBB88902-1E8B-455F-A492-9C1001FA4A42}" dt="2022-08-29T14:38:29.090" v="1"/>
          <ac:spMkLst>
            <pc:docMk/>
            <pc:sldMk cId="1319830884" sldId="2147471547"/>
            <ac:spMk id="37" creationId="{4F980CF2-23A7-45DB-8311-92B86DF5DC84}"/>
          </ac:spMkLst>
        </pc:spChg>
        <pc:picChg chg="add mod">
          <ac:chgData name="Zabolotna, Kateryna" userId="S::k27161@eon.com::724a1d14-7a1d-4ba3-a47b-ab98eba40d1a" providerId="AD" clId="Web-{DBB88902-1E8B-455F-A492-9C1001FA4A42}" dt="2022-08-29T14:39:01.622" v="4" actId="1076"/>
          <ac:picMkLst>
            <pc:docMk/>
            <pc:sldMk cId="1319830884" sldId="2147471547"/>
            <ac:picMk id="12" creationId="{2F7FF14F-041C-B9C6-723D-7DDFBD9A050B}"/>
          </ac:picMkLst>
        </pc:picChg>
        <pc:picChg chg="del">
          <ac:chgData name="Zabolotna, Kateryna" userId="S::k27161@eon.com::724a1d14-7a1d-4ba3-a47b-ab98eba40d1a" providerId="AD" clId="Web-{DBB88902-1E8B-455F-A492-9C1001FA4A42}" dt="2022-08-29T14:38:55.357" v="2"/>
          <ac:picMkLst>
            <pc:docMk/>
            <pc:sldMk cId="1319830884" sldId="2147471547"/>
            <ac:picMk id="19" creationId="{B2F50FF9-9BAD-4D74-AC1E-E883E7D58E73}"/>
          </ac:picMkLst>
        </pc:picChg>
      </pc:sldChg>
    </pc:docChg>
  </pc:docChgLst>
  <pc:docChgLst>
    <pc:chgData name="Zabolotna, Kateryna" userId="S::k27161@eon.com::724a1d14-7a1d-4ba3-a47b-ab98eba40d1a" providerId="AD" clId="Web-{D4AAA217-9C71-432A-8D33-9EC4EA386D02}"/>
    <pc:docChg chg="addSld delSld modSection">
      <pc:chgData name="Zabolotna, Kateryna" userId="S::k27161@eon.com::724a1d14-7a1d-4ba3-a47b-ab98eba40d1a" providerId="AD" clId="Web-{D4AAA217-9C71-432A-8D33-9EC4EA386D02}" dt="2022-11-25T23:36:46.887" v="1"/>
      <pc:docMkLst>
        <pc:docMk/>
      </pc:docMkLst>
      <pc:sldChg chg="add del replId">
        <pc:chgData name="Zabolotna, Kateryna" userId="S::k27161@eon.com::724a1d14-7a1d-4ba3-a47b-ab98eba40d1a" providerId="AD" clId="Web-{D4AAA217-9C71-432A-8D33-9EC4EA386D02}" dt="2022-11-25T23:36:46.887" v="1"/>
        <pc:sldMkLst>
          <pc:docMk/>
          <pc:sldMk cId="140835250" sldId="214747155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2709832-9B74-420C-8D1C-742B40C38B3E}" type="datetimeFigureOut">
              <a:rPr lang="de-DE" smtClean="0"/>
              <a:t>25.11.2022</a:t>
            </a:fld>
            <a:endParaRPr lang="de-DE"/>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2BB21D2-EE0C-4F60-9290-A95707687EAD}" type="slidenum">
              <a:rPr lang="de-DE" smtClean="0"/>
              <a:t>‹Nr.›</a:t>
            </a:fld>
            <a:endParaRPr lang="de-DE"/>
          </a:p>
        </p:txBody>
      </p:sp>
    </p:spTree>
    <p:extLst>
      <p:ext uri="{BB962C8B-B14F-4D97-AF65-F5344CB8AC3E}">
        <p14:creationId xmlns:p14="http://schemas.microsoft.com/office/powerpoint/2010/main" val="26540989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25BD20B-1595-4AD5-8C42-650ED0B09BCC}" type="datetimeFigureOut">
              <a:rPr lang="de-DE" smtClean="0"/>
              <a:t>25.11.2022</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C788022-2B66-4C3B-913E-DF7D5DD0D66A}" type="slidenum">
              <a:rPr lang="de-DE" smtClean="0"/>
              <a:t>‹Nr.›</a:t>
            </a:fld>
            <a:endParaRPr lang="de-DE"/>
          </a:p>
        </p:txBody>
      </p:sp>
    </p:spTree>
    <p:extLst>
      <p:ext uri="{BB962C8B-B14F-4D97-AF65-F5344CB8AC3E}">
        <p14:creationId xmlns:p14="http://schemas.microsoft.com/office/powerpoint/2010/main" val="9384640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4C788022-2B66-4C3B-913E-DF7D5DD0D66A}" type="slidenum">
              <a:rPr lang="de-DE" smtClean="0"/>
              <a:pPr/>
              <a:t>3</a:t>
            </a:fld>
            <a:endParaRPr lang="de-DE"/>
          </a:p>
        </p:txBody>
      </p:sp>
    </p:spTree>
    <p:extLst>
      <p:ext uri="{BB962C8B-B14F-4D97-AF65-F5344CB8AC3E}">
        <p14:creationId xmlns:p14="http://schemas.microsoft.com/office/powerpoint/2010/main" val="1668458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ake it happen – Michael Jordan </a:t>
            </a:r>
          </a:p>
          <a:p>
            <a:r>
              <a:rPr lang="en-US"/>
              <a:t>Set your goals high, and don’t stop till you get there – Bo Jackson</a:t>
            </a:r>
          </a:p>
          <a:p>
            <a:endParaRPr lang="en-US"/>
          </a:p>
          <a:p>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15</a:t>
            </a:fld>
            <a:endParaRPr lang="de-DE"/>
          </a:p>
        </p:txBody>
      </p:sp>
    </p:spTree>
    <p:extLst>
      <p:ext uri="{BB962C8B-B14F-4D97-AF65-F5344CB8AC3E}">
        <p14:creationId xmlns:p14="http://schemas.microsoft.com/office/powerpoint/2010/main" val="3333090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17</a:t>
            </a:fld>
            <a:endParaRPr lang="de-DE"/>
          </a:p>
        </p:txBody>
      </p:sp>
    </p:spTree>
    <p:extLst>
      <p:ext uri="{BB962C8B-B14F-4D97-AF65-F5344CB8AC3E}">
        <p14:creationId xmlns:p14="http://schemas.microsoft.com/office/powerpoint/2010/main" val="1455609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788022-2B66-4C3B-913E-DF7D5DD0D66A}" type="slidenum">
              <a:rPr lang="en-US" smtClean="0"/>
              <a:t>4</a:t>
            </a:fld>
            <a:endParaRPr lang="en-US"/>
          </a:p>
        </p:txBody>
      </p:sp>
    </p:spTree>
    <p:extLst>
      <p:ext uri="{BB962C8B-B14F-4D97-AF65-F5344CB8AC3E}">
        <p14:creationId xmlns:p14="http://schemas.microsoft.com/office/powerpoint/2010/main" val="2285599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err="1">
                <a:cs typeface="Calibri"/>
              </a:rPr>
              <a:t>if</a:t>
            </a:r>
            <a:r>
              <a:rPr lang="de-DE">
                <a:cs typeface="Calibri"/>
              </a:rPr>
              <a:t> </a:t>
            </a:r>
            <a:r>
              <a:rPr lang="de-DE" err="1">
                <a:cs typeface="Calibri"/>
              </a:rPr>
              <a:t>we</a:t>
            </a:r>
            <a:r>
              <a:rPr lang="de-DE">
                <a:cs typeface="Calibri"/>
              </a:rPr>
              <a:t> </a:t>
            </a:r>
            <a:r>
              <a:rPr lang="de-DE" err="1">
                <a:cs typeface="Calibri"/>
              </a:rPr>
              <a:t>want</a:t>
            </a:r>
            <a:r>
              <a:rPr lang="de-DE">
                <a:cs typeface="Calibri"/>
              </a:rPr>
              <a:t> </a:t>
            </a:r>
            <a:r>
              <a:rPr lang="de-DE" err="1">
                <a:cs typeface="Calibri"/>
              </a:rPr>
              <a:t>to</a:t>
            </a:r>
            <a:r>
              <a:rPr lang="de-DE">
                <a:cs typeface="Calibri"/>
              </a:rPr>
              <a:t> </a:t>
            </a:r>
            <a:r>
              <a:rPr lang="de-DE" err="1">
                <a:cs typeface="Calibri"/>
              </a:rPr>
              <a:t>utilize</a:t>
            </a:r>
            <a:r>
              <a:rPr lang="de-DE">
                <a:cs typeface="Calibri"/>
              </a:rPr>
              <a:t> </a:t>
            </a:r>
            <a:r>
              <a:rPr lang="de-DE" err="1">
                <a:cs typeface="Calibri"/>
              </a:rPr>
              <a:t>data</a:t>
            </a:r>
            <a:r>
              <a:rPr lang="de-DE">
                <a:cs typeface="Calibri"/>
              </a:rPr>
              <a:t> </a:t>
            </a:r>
            <a:r>
              <a:rPr lang="de-DE" err="1">
                <a:cs typeface="Calibri"/>
              </a:rPr>
              <a:t>as</a:t>
            </a:r>
            <a:r>
              <a:rPr lang="de-DE">
                <a:cs typeface="Calibri"/>
              </a:rPr>
              <a:t> a </a:t>
            </a:r>
            <a:r>
              <a:rPr lang="de-DE" err="1">
                <a:cs typeface="Calibri"/>
              </a:rPr>
              <a:t>strategic</a:t>
            </a:r>
            <a:r>
              <a:rPr lang="de-DE">
                <a:cs typeface="Calibri"/>
              </a:rPr>
              <a:t> </a:t>
            </a:r>
            <a:r>
              <a:rPr lang="de-DE" err="1">
                <a:cs typeface="Calibri"/>
              </a:rPr>
              <a:t>asset</a:t>
            </a:r>
            <a:r>
              <a:rPr lang="de-DE">
                <a:cs typeface="Calibri"/>
              </a:rPr>
              <a:t>, all </a:t>
            </a:r>
            <a:r>
              <a:rPr lang="de-DE" err="1">
                <a:cs typeface="Calibri"/>
              </a:rPr>
              <a:t>these</a:t>
            </a:r>
            <a:r>
              <a:rPr lang="de-DE">
                <a:cs typeface="Calibri"/>
              </a:rPr>
              <a:t> </a:t>
            </a:r>
            <a:r>
              <a:rPr lang="de-DE" err="1">
                <a:cs typeface="Calibri"/>
              </a:rPr>
              <a:t>questions</a:t>
            </a:r>
            <a:r>
              <a:rPr lang="de-DE">
                <a:cs typeface="Calibri"/>
              </a:rPr>
              <a:t> </a:t>
            </a:r>
            <a:r>
              <a:rPr lang="de-DE" err="1">
                <a:cs typeface="Calibri"/>
              </a:rPr>
              <a:t>have</a:t>
            </a:r>
            <a:r>
              <a:rPr lang="de-DE">
                <a:cs typeface="Calibri"/>
              </a:rPr>
              <a:t> </a:t>
            </a:r>
            <a:r>
              <a:rPr lang="de-DE" err="1">
                <a:cs typeface="Calibri"/>
              </a:rPr>
              <a:t>to</a:t>
            </a:r>
            <a:r>
              <a:rPr lang="de-DE">
                <a:cs typeface="Calibri"/>
              </a:rPr>
              <a:t> </a:t>
            </a:r>
            <a:r>
              <a:rPr lang="de-DE" err="1">
                <a:cs typeface="Calibri"/>
              </a:rPr>
              <a:t>be</a:t>
            </a:r>
            <a:r>
              <a:rPr lang="de-DE">
                <a:cs typeface="Calibri"/>
              </a:rPr>
              <a:t> </a:t>
            </a:r>
            <a:r>
              <a:rPr lang="de-DE" err="1">
                <a:cs typeface="Calibri"/>
              </a:rPr>
              <a:t>tackled</a:t>
            </a:r>
            <a:r>
              <a:rPr lang="de-DE">
                <a:cs typeface="Calibri"/>
              </a:rPr>
              <a:t> in a </a:t>
            </a:r>
            <a:r>
              <a:rPr lang="de-DE" err="1">
                <a:cs typeface="Calibri"/>
              </a:rPr>
              <a:t>systematic</a:t>
            </a:r>
            <a:r>
              <a:rPr lang="de-DE">
                <a:cs typeface="Calibri"/>
              </a:rPr>
              <a:t> and </a:t>
            </a:r>
            <a:r>
              <a:rPr lang="de-DE" err="1">
                <a:cs typeface="Calibri"/>
              </a:rPr>
              <a:t>structured</a:t>
            </a:r>
            <a:r>
              <a:rPr lang="de-DE">
                <a:cs typeface="Calibri"/>
              </a:rPr>
              <a:t> </a:t>
            </a:r>
            <a:r>
              <a:rPr lang="de-DE" err="1">
                <a:cs typeface="Calibri"/>
              </a:rPr>
              <a:t>way</a:t>
            </a:r>
            <a:endParaRPr lang="de-DE">
              <a:cs typeface="Calibri"/>
            </a:endParaRPr>
          </a:p>
          <a:p>
            <a:endParaRPr lang="de-DE">
              <a:cs typeface="Calibri"/>
            </a:endParaRPr>
          </a:p>
          <a:p>
            <a:r>
              <a:rPr lang="de-DE">
                <a:cs typeface="Calibri"/>
              </a:rPr>
              <a:t>These </a:t>
            </a:r>
            <a:r>
              <a:rPr lang="de-DE" err="1">
                <a:cs typeface="Calibri"/>
              </a:rPr>
              <a:t>requires</a:t>
            </a:r>
            <a:r>
              <a:rPr lang="de-DE">
                <a:cs typeface="Calibri"/>
              </a:rPr>
              <a:t> a </a:t>
            </a:r>
            <a:r>
              <a:rPr lang="de-DE" err="1">
                <a:cs typeface="Calibri"/>
              </a:rPr>
              <a:t>set</a:t>
            </a:r>
            <a:r>
              <a:rPr lang="de-DE">
                <a:cs typeface="Calibri"/>
              </a:rPr>
              <a:t> </a:t>
            </a:r>
            <a:r>
              <a:rPr lang="de-DE" err="1">
                <a:cs typeface="Calibri"/>
              </a:rPr>
              <a:t>of</a:t>
            </a:r>
            <a:r>
              <a:rPr lang="de-DE">
                <a:cs typeface="Calibri"/>
              </a:rPr>
              <a:t> </a:t>
            </a:r>
            <a:r>
              <a:rPr lang="de-DE" err="1">
                <a:cs typeface="Calibri"/>
              </a:rPr>
              <a:t>the</a:t>
            </a:r>
            <a:r>
              <a:rPr lang="de-DE">
                <a:cs typeface="Calibri"/>
              </a:rPr>
              <a:t> </a:t>
            </a:r>
            <a:r>
              <a:rPr lang="de-DE" err="1">
                <a:cs typeface="Calibri"/>
              </a:rPr>
              <a:t>targeted</a:t>
            </a:r>
            <a:r>
              <a:rPr lang="de-DE">
                <a:cs typeface="Calibri"/>
              </a:rPr>
              <a:t> </a:t>
            </a:r>
            <a:r>
              <a:rPr lang="de-DE" err="1">
                <a:cs typeface="Calibri"/>
              </a:rPr>
              <a:t>capabilities</a:t>
            </a:r>
            <a:r>
              <a:rPr lang="de-DE">
                <a:cs typeface="Calibri"/>
              </a:rPr>
              <a:t> and a </a:t>
            </a:r>
            <a:r>
              <a:rPr lang="de-DE" err="1">
                <a:cs typeface="Calibri"/>
              </a:rPr>
              <a:t>clear</a:t>
            </a:r>
            <a:r>
              <a:rPr lang="de-DE">
                <a:cs typeface="Calibri"/>
              </a:rPr>
              <a:t> </a:t>
            </a:r>
            <a:r>
              <a:rPr lang="de-DE" err="1">
                <a:cs typeface="Calibri"/>
              </a:rPr>
              <a:t>purpose</a:t>
            </a:r>
            <a:r>
              <a:rPr lang="de-DE">
                <a:cs typeface="Calibri"/>
              </a:rPr>
              <a:t> </a:t>
            </a:r>
            <a:r>
              <a:rPr lang="de-DE" err="1">
                <a:cs typeface="Calibri"/>
              </a:rPr>
              <a:t>that</a:t>
            </a:r>
            <a:r>
              <a:rPr lang="de-DE">
                <a:cs typeface="Calibri"/>
              </a:rPr>
              <a:t> </a:t>
            </a:r>
            <a:r>
              <a:rPr lang="de-DE" err="1"/>
              <a:t>drives</a:t>
            </a:r>
            <a:r>
              <a:rPr lang="de-DE"/>
              <a:t> </a:t>
            </a:r>
            <a:r>
              <a:rPr lang="de-DE" err="1"/>
              <a:t>us</a:t>
            </a:r>
            <a:r>
              <a:rPr lang="de-DE"/>
              <a:t> </a:t>
            </a:r>
            <a:r>
              <a:rPr lang="de-DE" err="1"/>
              <a:t>through</a:t>
            </a:r>
            <a:r>
              <a:rPr lang="de-DE"/>
              <a:t> </a:t>
            </a:r>
            <a:r>
              <a:rPr lang="de-DE" err="1"/>
              <a:t>our</a:t>
            </a:r>
            <a:r>
              <a:rPr lang="de-DE"/>
              <a:t> </a:t>
            </a:r>
            <a:r>
              <a:rPr lang="de-DE" err="1"/>
              <a:t>every</a:t>
            </a:r>
            <a:r>
              <a:rPr lang="de-DE"/>
              <a:t> </a:t>
            </a:r>
            <a:r>
              <a:rPr lang="de-DE" err="1"/>
              <a:t>day</a:t>
            </a:r>
            <a:r>
              <a:rPr lang="de-DE"/>
              <a:t> </a:t>
            </a:r>
            <a:r>
              <a:rPr lang="de-DE" err="1"/>
              <a:t>work</a:t>
            </a:r>
            <a:r>
              <a:rPr lang="de-DE"/>
              <a:t> </a:t>
            </a:r>
            <a:r>
              <a:rPr lang="de-DE" err="1"/>
              <a:t>as</a:t>
            </a:r>
            <a:r>
              <a:rPr lang="de-DE"/>
              <a:t> </a:t>
            </a:r>
            <a:r>
              <a:rPr lang="de-DE" err="1"/>
              <a:t>DaRe</a:t>
            </a:r>
            <a:r>
              <a:rPr lang="de-DE"/>
              <a:t> </a:t>
            </a:r>
            <a:r>
              <a:rPr lang="de-DE" err="1"/>
              <a:t>team</a:t>
            </a:r>
            <a:endParaRPr lang="en-US"/>
          </a:p>
        </p:txBody>
      </p:sp>
      <p:sp>
        <p:nvSpPr>
          <p:cNvPr id="4" name="Slide Number Placeholder 3"/>
          <p:cNvSpPr>
            <a:spLocks noGrp="1"/>
          </p:cNvSpPr>
          <p:nvPr>
            <p:ph type="sldNum" sz="quarter" idx="5"/>
          </p:nvPr>
        </p:nvSpPr>
        <p:spPr/>
        <p:txBody>
          <a:bodyPr/>
          <a:lstStyle/>
          <a:p>
            <a:fld id="{4C788022-2B66-4C3B-913E-DF7D5DD0D66A}" type="slidenum">
              <a:rPr lang="en-US" smtClean="0"/>
              <a:t>6</a:t>
            </a:fld>
            <a:endParaRPr lang="en-US"/>
          </a:p>
        </p:txBody>
      </p:sp>
    </p:spTree>
    <p:extLst>
      <p:ext uri="{BB962C8B-B14F-4D97-AF65-F5344CB8AC3E}">
        <p14:creationId xmlns:p14="http://schemas.microsoft.com/office/powerpoint/2010/main" val="2285599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788022-2B66-4C3B-913E-DF7D5DD0D66A}" type="slidenum">
              <a:rPr kumimoji="0" lang="de-DE" sz="1200" b="0" i="0" u="none" strike="noStrike" kern="1200" cap="none" spc="0" normalizeH="0" baseline="0" noProof="0" smtClean="0">
                <a:ln>
                  <a:noFill/>
                </a:ln>
                <a:solidFill>
                  <a:prstClr val="black"/>
                </a:solidFill>
                <a:effectLst/>
                <a:uLnTx/>
                <a:uFillTx/>
                <a:latin typeface="EON Brix 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EON Brix Sans"/>
              <a:ea typeface="+mn-ea"/>
              <a:cs typeface="+mn-cs"/>
            </a:endParaRPr>
          </a:p>
        </p:txBody>
      </p:sp>
    </p:spTree>
    <p:extLst>
      <p:ext uri="{BB962C8B-B14F-4D97-AF65-F5344CB8AC3E}">
        <p14:creationId xmlns:p14="http://schemas.microsoft.com/office/powerpoint/2010/main" val="4255602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8</a:t>
            </a:fld>
            <a:endParaRPr lang="de-DE"/>
          </a:p>
        </p:txBody>
      </p:sp>
    </p:spTree>
    <p:extLst>
      <p:ext uri="{BB962C8B-B14F-4D97-AF65-F5344CB8AC3E}">
        <p14:creationId xmlns:p14="http://schemas.microsoft.com/office/powerpoint/2010/main" val="2143115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4C788022-2B66-4C3B-913E-DF7D5DD0D66A}" type="slidenum">
              <a:rPr lang="de-DE" smtClean="0"/>
              <a:t>9</a:t>
            </a:fld>
            <a:endParaRPr lang="de-DE"/>
          </a:p>
        </p:txBody>
      </p:sp>
    </p:spTree>
    <p:extLst>
      <p:ext uri="{BB962C8B-B14F-4D97-AF65-F5344CB8AC3E}">
        <p14:creationId xmlns:p14="http://schemas.microsoft.com/office/powerpoint/2010/main" val="25656816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clusion – If you want to eat a elephant …. Quote _ Elephant icon (alive!!!)</a:t>
            </a:r>
          </a:p>
          <a:p>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12</a:t>
            </a:fld>
            <a:endParaRPr lang="de-DE"/>
          </a:p>
        </p:txBody>
      </p:sp>
    </p:spTree>
    <p:extLst>
      <p:ext uri="{BB962C8B-B14F-4D97-AF65-F5344CB8AC3E}">
        <p14:creationId xmlns:p14="http://schemas.microsoft.com/office/powerpoint/2010/main" val="3343632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r>
              <a:rPr lang="en-US"/>
              <a:t>As part of its digital transformation and innovation efforts, E.ON was determined to achieve better governance over its rapidly expanding sources of data and heterogenous system landscape — and leverage them for maximum impact.</a:t>
            </a:r>
            <a:br>
              <a:rPr lang="en-US"/>
            </a:br>
            <a:r>
              <a:rPr lang="en-US"/>
              <a:t> </a:t>
            </a:r>
          </a:p>
          <a:p>
            <a:endParaRPr lang="en-US">
              <a:cs typeface="Calibri"/>
            </a:endParaRPr>
          </a:p>
          <a:p>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13</a:t>
            </a:fld>
            <a:endParaRPr lang="de-DE"/>
          </a:p>
        </p:txBody>
      </p:sp>
    </p:spTree>
    <p:extLst>
      <p:ext uri="{BB962C8B-B14F-4D97-AF65-F5344CB8AC3E}">
        <p14:creationId xmlns:p14="http://schemas.microsoft.com/office/powerpoint/2010/main" val="27262363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onclusion: If you want to invest in a topic, you musty know the value it generates. </a:t>
            </a:r>
          </a:p>
          <a:p>
            <a:endParaRPr lang="en-US"/>
          </a:p>
          <a:p>
            <a:r>
              <a:rPr lang="en-US"/>
              <a:t>If it doesn’t add value, it’s waste. –Henry Ford </a:t>
            </a:r>
          </a:p>
          <a:p>
            <a:endParaRPr lang="en-US"/>
          </a:p>
          <a:p>
            <a:endParaRPr lang="en-US"/>
          </a:p>
        </p:txBody>
      </p:sp>
      <p:sp>
        <p:nvSpPr>
          <p:cNvPr id="4" name="Slide Number Placeholder 3"/>
          <p:cNvSpPr>
            <a:spLocks noGrp="1"/>
          </p:cNvSpPr>
          <p:nvPr>
            <p:ph type="sldNum" sz="quarter" idx="5"/>
          </p:nvPr>
        </p:nvSpPr>
        <p:spPr/>
        <p:txBody>
          <a:bodyPr/>
          <a:lstStyle/>
          <a:p>
            <a:fld id="{4C788022-2B66-4C3B-913E-DF7D5DD0D66A}" type="slidenum">
              <a:rPr lang="de-DE" smtClean="0"/>
              <a:t>14</a:t>
            </a:fld>
            <a:endParaRPr lang="de-DE"/>
          </a:p>
        </p:txBody>
      </p:sp>
    </p:spTree>
    <p:extLst>
      <p:ext uri="{BB962C8B-B14F-4D97-AF65-F5344CB8AC3E}">
        <p14:creationId xmlns:p14="http://schemas.microsoft.com/office/powerpoint/2010/main" val="24179529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wmf"/><Relationship Id="rId5" Type="http://schemas.openxmlformats.org/officeDocument/2006/relationships/image" Target="../media/image4.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less color">
    <p:spTree>
      <p:nvGrpSpPr>
        <p:cNvPr id="1" name=""/>
        <p:cNvGrpSpPr/>
        <p:nvPr/>
      </p:nvGrpSpPr>
      <p:grpSpPr>
        <a:xfrm>
          <a:off x="0" y="0"/>
          <a:ext cx="0" cy="0"/>
          <a:chOff x="0" y="0"/>
          <a:chExt cx="0" cy="0"/>
        </a:xfrm>
      </p:grpSpPr>
      <p:sp>
        <p:nvSpPr>
          <p:cNvPr id="2" name="Titel 1"/>
          <p:cNvSpPr>
            <a:spLocks noGrp="1"/>
          </p:cNvSpPr>
          <p:nvPr>
            <p:ph type="ctrTitle"/>
          </p:nvPr>
        </p:nvSpPr>
        <p:spPr>
          <a:xfrm>
            <a:off x="1566000" y="1573200"/>
            <a:ext cx="6012000" cy="1224000"/>
          </a:xfrm>
        </p:spPr>
        <p:txBody>
          <a:bodyPr anchor="b" anchorCtr="0">
            <a:noAutofit/>
          </a:bodyPr>
          <a:lstStyle>
            <a:lvl1pPr algn="r">
              <a:lnSpc>
                <a:spcPts val="4600"/>
              </a:lnSpc>
              <a:defRPr sz="4600" kern="100" baseline="0"/>
            </a:lvl1pPr>
          </a:lstStyle>
          <a:p>
            <a:r>
              <a:rPr lang="de-DE"/>
              <a:t>Titelmasterformat durch Klicken bearbeiten</a:t>
            </a:r>
          </a:p>
        </p:txBody>
      </p:sp>
      <p:sp>
        <p:nvSpPr>
          <p:cNvPr id="3" name="Untertitel 2"/>
          <p:cNvSpPr>
            <a:spLocks noGrp="1"/>
          </p:cNvSpPr>
          <p:nvPr>
            <p:ph type="subTitle" idx="1"/>
          </p:nvPr>
        </p:nvSpPr>
        <p:spPr>
          <a:xfrm>
            <a:off x="1566000" y="2901600"/>
            <a:ext cx="6012000" cy="543600"/>
          </a:xfrm>
        </p:spPr>
        <p:txBody>
          <a:bodyPr>
            <a:noAutofit/>
          </a:bodyPr>
          <a:lstStyle>
            <a:lvl1pPr marL="0" indent="0" algn="r">
              <a:lnSpc>
                <a:spcPct val="100000"/>
              </a:lnSpc>
              <a:spcAft>
                <a:spcPts val="600"/>
              </a:spcAft>
              <a:buNone/>
              <a:defRPr sz="1900" kern="100" baseline="0">
                <a:solidFill>
                  <a:srgbClr val="EA1C0A"/>
                </a:solidFill>
                <a:latin typeface="+mj-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6138000" y="522000"/>
            <a:ext cx="1440000" cy="144000"/>
          </a:xfrm>
        </p:spPr>
        <p:txBody>
          <a:bodyPr/>
          <a:lstStyle>
            <a:lvl1pPr algn="r">
              <a:defRPr/>
            </a:lvl1pPr>
          </a:lstStyle>
          <a:p>
            <a:endParaRPr lang="de-DE"/>
          </a:p>
        </p:txBody>
      </p:sp>
      <p:grpSp>
        <p:nvGrpSpPr>
          <p:cNvPr id="10" name="Gruppieren 9"/>
          <p:cNvGrpSpPr/>
          <p:nvPr userDrawn="1"/>
        </p:nvGrpSpPr>
        <p:grpSpPr>
          <a:xfrm>
            <a:off x="7974000" y="0"/>
            <a:ext cx="1170000" cy="5144400"/>
            <a:chOff x="7974000" y="0"/>
            <a:chExt cx="1170000" cy="5144400"/>
          </a:xfrm>
        </p:grpSpPr>
        <p:sp>
          <p:nvSpPr>
            <p:cNvPr id="7" name="Rechteck 6"/>
            <p:cNvSpPr/>
            <p:nvPr userDrawn="1"/>
          </p:nvSpPr>
          <p:spPr>
            <a:xfrm>
              <a:off x="8920800" y="0"/>
              <a:ext cx="223200" cy="5144400"/>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8" name="Rechteck 7"/>
            <p:cNvSpPr/>
            <p:nvPr userDrawn="1"/>
          </p:nvSpPr>
          <p:spPr>
            <a:xfrm>
              <a:off x="8352000" y="0"/>
              <a:ext cx="5688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7974000" y="0"/>
              <a:ext cx="3780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pic>
        <p:nvPicPr>
          <p:cNvPr id="5" name="EON_Logo_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9203" y="3708000"/>
            <a:ext cx="2124877" cy="630000"/>
          </a:xfrm>
          <a:prstGeom prst="rect">
            <a:avLst/>
          </a:prstGeom>
        </p:spPr>
      </p:pic>
    </p:spTree>
    <p:extLst>
      <p:ext uri="{BB962C8B-B14F-4D97-AF65-F5344CB8AC3E}">
        <p14:creationId xmlns:p14="http://schemas.microsoft.com/office/powerpoint/2010/main" val="819325132"/>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AndTx" preserve="1">
  <p:cSld name="Graph/Tab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quarter" idx="1"/>
          </p:nvPr>
        </p:nvSpPr>
        <p:spPr>
          <a:xfrm>
            <a:off x="377825" y="1371599"/>
            <a:ext cx="5508000" cy="33984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6138000" y="1371600"/>
            <a:ext cx="2628000" cy="2628000"/>
          </a:xfrm>
        </p:spPr>
        <p:txBody>
          <a:bodyPr/>
          <a:lstStyle>
            <a:lvl1pPr>
              <a:lnSpc>
                <a:spcPts val="1375"/>
              </a:lnSpc>
              <a:defRPr sz="1100"/>
            </a:lvl1pPr>
            <a:lvl2pPr>
              <a:lnSpc>
                <a:spcPts val="1375"/>
              </a:lnSpc>
              <a:defRPr sz="1100"/>
            </a:lvl2pPr>
            <a:lvl3pPr>
              <a:lnSpc>
                <a:spcPts val="1375"/>
              </a:lnSpc>
              <a:defRPr sz="1100"/>
            </a:lvl3pPr>
            <a:lvl4pPr>
              <a:lnSpc>
                <a:spcPts val="1375"/>
              </a:lnSpc>
              <a:defRPr sz="1100"/>
            </a:lvl4pPr>
            <a:lvl5pPr>
              <a:lnSpc>
                <a:spcPts val="1375"/>
              </a:lnSpc>
              <a:defRPr sz="11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half" idx="3" hasCustomPrompt="1"/>
          </p:nvPr>
        </p:nvSpPr>
        <p:spPr>
          <a:xfrm>
            <a:off x="6138000" y="4060800"/>
            <a:ext cx="2628000" cy="360000"/>
          </a:xfrm>
        </p:spPr>
        <p:txBody>
          <a:bodyPr anchor="b" anchorCtr="0">
            <a:noAutofit/>
          </a:bodyPr>
          <a:lstStyle>
            <a:lvl1pPr>
              <a:defRPr sz="900">
                <a:solidFill>
                  <a:srgbClr val="B00402"/>
                </a:solidFill>
              </a:defRPr>
            </a:lvl1pPr>
            <a:lvl2pPr>
              <a:defRPr sz="900">
                <a:solidFill>
                  <a:srgbClr val="B00402"/>
                </a:solidFill>
              </a:defRPr>
            </a:lvl2pPr>
            <a:lvl3pPr>
              <a:defRPr sz="900">
                <a:solidFill>
                  <a:srgbClr val="B00402"/>
                </a:solidFill>
              </a:defRPr>
            </a:lvl3pPr>
            <a:lvl4pPr>
              <a:defRPr sz="900">
                <a:solidFill>
                  <a:srgbClr val="B00402"/>
                </a:solidFill>
              </a:defRPr>
            </a:lvl4pPr>
            <a:lvl5pPr>
              <a:defRPr sz="900">
                <a:solidFill>
                  <a:srgbClr val="B00402"/>
                </a:solidFill>
              </a:defRPr>
            </a:lvl5pPr>
          </a:lstStyle>
          <a:p>
            <a:pPr lvl="0"/>
            <a:r>
              <a:rPr lang="de-DE"/>
              <a:t>Additional </a:t>
            </a:r>
            <a:r>
              <a:rPr lang="de-DE" err="1"/>
              <a:t>information</a:t>
            </a:r>
            <a:endParaRPr lang="de-DE"/>
          </a:p>
        </p:txBody>
      </p:sp>
      <p:sp>
        <p:nvSpPr>
          <p:cNvPr id="6" name="Datumsplatzhalter 5"/>
          <p:cNvSpPr>
            <a:spLocks noGrp="1"/>
          </p:cNvSpPr>
          <p:nvPr>
            <p:ph type="dt" sz="half" idx="10"/>
          </p:nvPr>
        </p:nvSpPr>
        <p:spPr/>
        <p:txBody>
          <a:bodyPr/>
          <a:lstStyle/>
          <a:p>
            <a:endParaRPr lang="de-DE"/>
          </a:p>
        </p:txBody>
      </p:sp>
      <p:sp>
        <p:nvSpPr>
          <p:cNvPr id="7" name="Fußzeilenplatzhalter 6"/>
          <p:cNvSpPr>
            <a:spLocks noGrp="1"/>
          </p:cNvSpPr>
          <p:nvPr>
            <p:ph type="ftr" sz="quarter" idx="11"/>
          </p:nvPr>
        </p:nvSpPr>
        <p:spPr/>
        <p:txBody>
          <a:bodyPr/>
          <a:lstStyle/>
          <a:p>
            <a:endParaRPr lang="de-DE"/>
          </a:p>
        </p:txBody>
      </p:sp>
      <p:sp>
        <p:nvSpPr>
          <p:cNvPr id="8" name="Foliennummernplatzhalter 7"/>
          <p:cNvSpPr>
            <a:spLocks noGrp="1"/>
          </p:cNvSpPr>
          <p:nvPr>
            <p:ph type="sldNum" sz="quarter" idx="12"/>
          </p:nvPr>
        </p:nvSpPr>
        <p:spPr/>
        <p:txBody>
          <a:bodyPr/>
          <a:lstStyle/>
          <a:p>
            <a:fld id="{93C795C4-4A26-412B-AA90-98E97FF83D41}" type="slidenum">
              <a:rPr lang="de-DE" smtClean="0"/>
              <a:pPr/>
              <a:t>‹Nr.›</a:t>
            </a:fld>
            <a:endParaRPr lang="de-DE"/>
          </a:p>
        </p:txBody>
      </p:sp>
    </p:spTree>
    <p:extLst>
      <p:ext uri="{BB962C8B-B14F-4D97-AF65-F5344CB8AC3E}">
        <p14:creationId xmlns:p14="http://schemas.microsoft.com/office/powerpoint/2010/main" val="227641966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Custom char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099962235"/>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6" name="Objekt 5" hidden="1"/>
                      <p:cNvPicPr/>
                      <p:nvPr/>
                    </p:nvPicPr>
                    <p:blipFill>
                      <a:blip r:embed="rId4"/>
                      <a:stretch>
                        <a:fillRect/>
                      </a:stretch>
                    </p:blipFill>
                    <p:spPr>
                      <a:xfrm>
                        <a:off x="1591"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3C795C4-4A26-412B-AA90-98E97FF83D41}" type="slidenum">
              <a:rPr lang="de-DE" smtClean="0"/>
              <a:t>‹Nr.›</a:t>
            </a:fld>
            <a:endParaRPr lang="de-DE"/>
          </a:p>
        </p:txBody>
      </p:sp>
    </p:spTree>
    <p:extLst>
      <p:ext uri="{BB962C8B-B14F-4D97-AF65-F5344CB8AC3E}">
        <p14:creationId xmlns:p14="http://schemas.microsoft.com/office/powerpoint/2010/main" val="2361638891"/>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93C795C4-4A26-412B-AA90-98E97FF83D41}" type="slidenum">
              <a:rPr lang="de-DE" smtClean="0"/>
              <a:t>‹Nr.›</a:t>
            </a:fld>
            <a:endParaRPr lang="de-DE"/>
          </a:p>
        </p:txBody>
      </p:sp>
    </p:spTree>
    <p:extLst>
      <p:ext uri="{BB962C8B-B14F-4D97-AF65-F5344CB8AC3E}">
        <p14:creationId xmlns:p14="http://schemas.microsoft.com/office/powerpoint/2010/main" val="634678455"/>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No slidenumber, no da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Fußzeilenplatzhalter 3"/>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289500789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Agenda 1 column whi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378000" y="1371600"/>
            <a:ext cx="5508000" cy="3049200"/>
          </a:xfrm>
        </p:spPr>
        <p:txBody>
          <a:bodyPr/>
          <a:lstStyle>
            <a:lvl1pPr marL="355591" indent="-355591">
              <a:spcAft>
                <a:spcPts val="1000"/>
              </a:spcAft>
              <a:buFont typeface="+mj-lt"/>
              <a:buAutoNum type="arabicPeriod"/>
              <a:defRPr>
                <a:latin typeface="+mj-lt"/>
              </a:defRPr>
            </a:lvl1pPr>
            <a:lvl2pPr marL="542912" indent="-187320">
              <a:spcAft>
                <a:spcPts val="1000"/>
              </a:spcAft>
              <a:defRPr>
                <a:latin typeface="+mj-lt"/>
              </a:defRPr>
            </a:lvl2pPr>
            <a:lvl3pPr marL="720707" indent="-177796">
              <a:spcAft>
                <a:spcPts val="1000"/>
              </a:spcAft>
              <a:defRPr>
                <a:latin typeface="+mj-lt"/>
              </a:defRPr>
            </a:lvl3pPr>
            <a:lvl4pPr marL="898502" indent="-177796">
              <a:spcAft>
                <a:spcPts val="1000"/>
              </a:spcAft>
              <a:defRPr>
                <a:latin typeface="+mj-lt"/>
              </a:defRPr>
            </a:lvl4pPr>
            <a:lvl5pPr marL="1076298" indent="-177796">
              <a:spcAft>
                <a:spcPts val="1000"/>
              </a:spcAft>
              <a:defRPr>
                <a:latin typeface="+mj-l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p:txBody>
          <a:bodyPr/>
          <a:lstStyle/>
          <a:p>
            <a:endParaRPr lang="de-DE"/>
          </a:p>
        </p:txBody>
      </p:sp>
      <p:pic>
        <p:nvPicPr>
          <p:cNvPr id="7" name="EON_Logo_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648556173"/>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2 columns white">
    <p:bg>
      <p:bgPr>
        <a:solidFill>
          <a:srgbClr val="FFFFFF"/>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EA1C0A"/>
                </a:solidFill>
              </a:defRPr>
            </a:lvl1pPr>
          </a:lstStyle>
          <a:p>
            <a:r>
              <a:rPr lang="de-DE"/>
              <a:t>Titelmasterformat durch Klicken bearbeiten</a:t>
            </a:r>
          </a:p>
        </p:txBody>
      </p:sp>
      <p:sp>
        <p:nvSpPr>
          <p:cNvPr id="3" name="Inhaltsplatzhalter 2"/>
          <p:cNvSpPr>
            <a:spLocks noGrp="1"/>
          </p:cNvSpPr>
          <p:nvPr>
            <p:ph sz="half" idx="1"/>
          </p:nvPr>
        </p:nvSpPr>
        <p:spPr>
          <a:xfrm>
            <a:off x="378000" y="1371600"/>
            <a:ext cx="4068000" cy="2340000"/>
          </a:xfrm>
        </p:spPr>
        <p:txBody>
          <a:bodyPr>
            <a:noAutofit/>
          </a:bodyPr>
          <a:lstStyle>
            <a:lvl1pPr marL="355591" indent="-355591">
              <a:spcAft>
                <a:spcPts val="1000"/>
              </a:spcAft>
              <a:buFont typeface="+mj-lt"/>
              <a:buAutoNum type="arabicPeriod"/>
              <a:defRPr sz="1400">
                <a:solidFill>
                  <a:srgbClr val="000000"/>
                </a:solidFill>
                <a:latin typeface="+mj-lt"/>
              </a:defRPr>
            </a:lvl1pPr>
            <a:lvl2pPr marL="542912" indent="-187320">
              <a:spcAft>
                <a:spcPts val="1000"/>
              </a:spcAft>
              <a:defRPr sz="1400">
                <a:solidFill>
                  <a:srgbClr val="000000"/>
                </a:solidFill>
                <a:latin typeface="+mj-lt"/>
              </a:defRPr>
            </a:lvl2pPr>
            <a:lvl3pPr marL="720707" indent="-177796">
              <a:spcAft>
                <a:spcPts val="1000"/>
              </a:spcAft>
              <a:defRPr sz="1400">
                <a:solidFill>
                  <a:srgbClr val="000000"/>
                </a:solidFill>
                <a:latin typeface="+mj-lt"/>
              </a:defRPr>
            </a:lvl3pPr>
            <a:lvl4pPr marL="898502" indent="-177796">
              <a:spcAft>
                <a:spcPts val="1000"/>
              </a:spcAft>
              <a:defRPr sz="1400">
                <a:solidFill>
                  <a:srgbClr val="000000"/>
                </a:solidFill>
                <a:latin typeface="+mj-lt"/>
              </a:defRPr>
            </a:lvl4pPr>
            <a:lvl5pPr marL="1076298" indent="-177796">
              <a:spcAft>
                <a:spcPts val="1000"/>
              </a:spcAft>
              <a:defRPr sz="1400">
                <a:solidFill>
                  <a:srgbClr val="000000"/>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98000" y="1371600"/>
            <a:ext cx="4068000" cy="2340000"/>
          </a:xfrm>
        </p:spPr>
        <p:txBody>
          <a:bodyPr>
            <a:noAutofit/>
          </a:bodyPr>
          <a:lstStyle>
            <a:lvl1pPr marL="355591" indent="-355591">
              <a:spcAft>
                <a:spcPts val="1000"/>
              </a:spcAft>
              <a:buFont typeface="+mj-lt"/>
              <a:buAutoNum type="arabicPeriod"/>
              <a:defRPr sz="1400">
                <a:solidFill>
                  <a:srgbClr val="000000"/>
                </a:solidFill>
                <a:latin typeface="+mj-lt"/>
              </a:defRPr>
            </a:lvl1pPr>
            <a:lvl2pPr marL="542912" indent="-187320">
              <a:spcAft>
                <a:spcPts val="1000"/>
              </a:spcAft>
              <a:defRPr sz="1400">
                <a:solidFill>
                  <a:srgbClr val="000000"/>
                </a:solidFill>
                <a:latin typeface="+mj-lt"/>
              </a:defRPr>
            </a:lvl2pPr>
            <a:lvl3pPr marL="720707" indent="-177796">
              <a:spcAft>
                <a:spcPts val="1000"/>
              </a:spcAft>
              <a:defRPr sz="1400">
                <a:solidFill>
                  <a:srgbClr val="000000"/>
                </a:solidFill>
                <a:latin typeface="+mj-lt"/>
              </a:defRPr>
            </a:lvl3pPr>
            <a:lvl4pPr marL="898502" indent="-177796">
              <a:spcAft>
                <a:spcPts val="1000"/>
              </a:spcAft>
              <a:defRPr sz="1400">
                <a:solidFill>
                  <a:srgbClr val="000000"/>
                </a:solidFill>
                <a:latin typeface="+mj-lt"/>
              </a:defRPr>
            </a:lvl4pPr>
            <a:lvl5pPr marL="1076298" indent="-177796">
              <a:spcAft>
                <a:spcPts val="1000"/>
              </a:spcAft>
              <a:defRPr sz="1400">
                <a:solidFill>
                  <a:srgbClr val="000000"/>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a:solidFill>
                  <a:srgbClr val="000000"/>
                </a:solidFill>
              </a:defRPr>
            </a:lvl1pPr>
          </a:lstStyle>
          <a:p>
            <a:endParaRPr lang="de-DE"/>
          </a:p>
        </p:txBody>
      </p:sp>
      <p:pic>
        <p:nvPicPr>
          <p:cNvPr id="7" name="EON_Logo_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4113489913"/>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columns white">
    <p:bg>
      <p:bgPr>
        <a:solidFill>
          <a:srgbClr val="FFFFFF"/>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EA1C0A"/>
                </a:solidFill>
              </a:defRPr>
            </a:lvl1pPr>
          </a:lstStyle>
          <a:p>
            <a:r>
              <a:rPr lang="de-DE"/>
              <a:t>Titelmasterformat durch Klicken bearbeiten</a:t>
            </a:r>
          </a:p>
        </p:txBody>
      </p:sp>
      <p:sp>
        <p:nvSpPr>
          <p:cNvPr id="3" name="Inhaltsplatzhalter 2"/>
          <p:cNvSpPr>
            <a:spLocks noGrp="1"/>
          </p:cNvSpPr>
          <p:nvPr>
            <p:ph sz="half" idx="1"/>
          </p:nvPr>
        </p:nvSpPr>
        <p:spPr>
          <a:xfrm>
            <a:off x="378000" y="1371600"/>
            <a:ext cx="2628000" cy="2340000"/>
          </a:xfrm>
        </p:spPr>
        <p:txBody>
          <a:bodyPr>
            <a:noAutofit/>
          </a:bodyPr>
          <a:lstStyle>
            <a:lvl1pPr marL="355591" indent="-355591">
              <a:spcAft>
                <a:spcPts val="1000"/>
              </a:spcAft>
              <a:buFont typeface="+mj-lt"/>
              <a:buAutoNum type="arabicPeriod"/>
              <a:defRPr sz="1400">
                <a:solidFill>
                  <a:srgbClr val="000000"/>
                </a:solidFill>
                <a:latin typeface="+mj-lt"/>
              </a:defRPr>
            </a:lvl1pPr>
            <a:lvl2pPr marL="542912" indent="-187320">
              <a:spcAft>
                <a:spcPts val="1000"/>
              </a:spcAft>
              <a:defRPr sz="1400">
                <a:solidFill>
                  <a:srgbClr val="000000"/>
                </a:solidFill>
                <a:latin typeface="+mj-lt"/>
              </a:defRPr>
            </a:lvl2pPr>
            <a:lvl3pPr marL="720707" indent="-177796">
              <a:spcAft>
                <a:spcPts val="1000"/>
              </a:spcAft>
              <a:defRPr sz="1400">
                <a:solidFill>
                  <a:srgbClr val="000000"/>
                </a:solidFill>
                <a:latin typeface="+mj-lt"/>
              </a:defRPr>
            </a:lvl3pPr>
            <a:lvl4pPr marL="898502" indent="-177796">
              <a:spcAft>
                <a:spcPts val="1000"/>
              </a:spcAft>
              <a:defRPr sz="1400">
                <a:solidFill>
                  <a:srgbClr val="000000"/>
                </a:solidFill>
                <a:latin typeface="+mj-lt"/>
              </a:defRPr>
            </a:lvl4pPr>
            <a:lvl5pPr marL="1076298" indent="-177796">
              <a:spcAft>
                <a:spcPts val="1000"/>
              </a:spcAft>
              <a:defRPr sz="1400">
                <a:solidFill>
                  <a:srgbClr val="000000"/>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258000" y="1371600"/>
            <a:ext cx="2628000" cy="2340000"/>
          </a:xfrm>
        </p:spPr>
        <p:txBody>
          <a:bodyPr>
            <a:noAutofit/>
          </a:bodyPr>
          <a:lstStyle>
            <a:lvl1pPr marL="355591" indent="-355591">
              <a:spcAft>
                <a:spcPts val="1000"/>
              </a:spcAft>
              <a:buFont typeface="+mj-lt"/>
              <a:buAutoNum type="arabicPeriod"/>
              <a:defRPr sz="1400">
                <a:solidFill>
                  <a:srgbClr val="000000"/>
                </a:solidFill>
                <a:latin typeface="+mj-lt"/>
              </a:defRPr>
            </a:lvl1pPr>
            <a:lvl2pPr marL="542912" indent="-187320">
              <a:spcAft>
                <a:spcPts val="1000"/>
              </a:spcAft>
              <a:defRPr sz="1400">
                <a:solidFill>
                  <a:srgbClr val="000000"/>
                </a:solidFill>
                <a:latin typeface="+mj-lt"/>
              </a:defRPr>
            </a:lvl2pPr>
            <a:lvl3pPr marL="720707" indent="-177796">
              <a:spcAft>
                <a:spcPts val="1000"/>
              </a:spcAft>
              <a:defRPr sz="1400">
                <a:solidFill>
                  <a:srgbClr val="000000"/>
                </a:solidFill>
                <a:latin typeface="+mj-lt"/>
              </a:defRPr>
            </a:lvl3pPr>
            <a:lvl4pPr marL="898502" indent="-177796">
              <a:spcAft>
                <a:spcPts val="1000"/>
              </a:spcAft>
              <a:defRPr sz="1400">
                <a:solidFill>
                  <a:srgbClr val="000000"/>
                </a:solidFill>
                <a:latin typeface="+mj-lt"/>
              </a:defRPr>
            </a:lvl4pPr>
            <a:lvl5pPr marL="1076298" indent="-177796">
              <a:spcAft>
                <a:spcPts val="1000"/>
              </a:spcAft>
              <a:defRPr sz="1400">
                <a:solidFill>
                  <a:srgbClr val="000000"/>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a:solidFill>
                  <a:srgbClr val="000000"/>
                </a:solidFill>
              </a:defRPr>
            </a:lvl1pPr>
          </a:lstStyle>
          <a:p>
            <a:endParaRPr lang="de-DE"/>
          </a:p>
        </p:txBody>
      </p:sp>
      <p:sp>
        <p:nvSpPr>
          <p:cNvPr id="8" name="Inhaltsplatzhalter 3"/>
          <p:cNvSpPr>
            <a:spLocks noGrp="1"/>
          </p:cNvSpPr>
          <p:nvPr>
            <p:ph sz="half" idx="13"/>
          </p:nvPr>
        </p:nvSpPr>
        <p:spPr>
          <a:xfrm>
            <a:off x="6141600" y="1371600"/>
            <a:ext cx="2628000" cy="2340000"/>
          </a:xfrm>
        </p:spPr>
        <p:txBody>
          <a:bodyPr>
            <a:noAutofit/>
          </a:bodyPr>
          <a:lstStyle>
            <a:lvl1pPr marL="355591" indent="-355591">
              <a:spcAft>
                <a:spcPts val="1000"/>
              </a:spcAft>
              <a:buFont typeface="+mj-lt"/>
              <a:buAutoNum type="arabicPeriod"/>
              <a:defRPr sz="1400">
                <a:solidFill>
                  <a:srgbClr val="000000"/>
                </a:solidFill>
                <a:latin typeface="+mj-lt"/>
              </a:defRPr>
            </a:lvl1pPr>
            <a:lvl2pPr marL="542912" indent="-187320">
              <a:spcAft>
                <a:spcPts val="1000"/>
              </a:spcAft>
              <a:defRPr sz="1400">
                <a:solidFill>
                  <a:srgbClr val="000000"/>
                </a:solidFill>
                <a:latin typeface="+mj-lt"/>
              </a:defRPr>
            </a:lvl2pPr>
            <a:lvl3pPr marL="720707" indent="-177796">
              <a:spcAft>
                <a:spcPts val="1000"/>
              </a:spcAft>
              <a:defRPr sz="1400">
                <a:solidFill>
                  <a:srgbClr val="000000"/>
                </a:solidFill>
                <a:latin typeface="+mj-lt"/>
              </a:defRPr>
            </a:lvl3pPr>
            <a:lvl4pPr marL="898502" indent="-177796">
              <a:spcAft>
                <a:spcPts val="1000"/>
              </a:spcAft>
              <a:defRPr sz="1400">
                <a:solidFill>
                  <a:srgbClr val="000000"/>
                </a:solidFill>
                <a:latin typeface="+mj-lt"/>
              </a:defRPr>
            </a:lvl4pPr>
            <a:lvl5pPr marL="1076298" indent="-177796">
              <a:spcAft>
                <a:spcPts val="1000"/>
              </a:spcAft>
              <a:defRPr sz="1400">
                <a:solidFill>
                  <a:srgbClr val="000000"/>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10" name="EON_Logo_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4000853285"/>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1 column blue">
    <p:bg>
      <p:bgPr>
        <a:solidFill>
          <a:srgbClr val="5CC1CB"/>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FFFFFF"/>
                </a:solidFill>
              </a:defRPr>
            </a:lvl1pPr>
          </a:lstStyle>
          <a:p>
            <a:r>
              <a:rPr lang="de-DE"/>
              <a:t>Titelmasterformat durch Klicken bearbeiten</a:t>
            </a:r>
          </a:p>
        </p:txBody>
      </p:sp>
      <p:sp>
        <p:nvSpPr>
          <p:cNvPr id="3" name="Inhaltsplatzhalter 2"/>
          <p:cNvSpPr>
            <a:spLocks noGrp="1"/>
          </p:cNvSpPr>
          <p:nvPr>
            <p:ph idx="1"/>
          </p:nvPr>
        </p:nvSpPr>
        <p:spPr>
          <a:xfrm>
            <a:off x="378000" y="1371600"/>
            <a:ext cx="5508000" cy="3049200"/>
          </a:xfrm>
        </p:spPr>
        <p:txBody>
          <a:bodyPr/>
          <a:lstStyle>
            <a:lvl1pPr marL="355591" indent="-355591">
              <a:spcAft>
                <a:spcPts val="1000"/>
              </a:spcAft>
              <a:buFont typeface="+mj-lt"/>
              <a:buAutoNum type="arabicPeriod"/>
              <a:defRPr>
                <a:solidFill>
                  <a:srgbClr val="FFFFFF"/>
                </a:solidFill>
                <a:latin typeface="+mj-lt"/>
              </a:defRPr>
            </a:lvl1pPr>
            <a:lvl2pPr marL="542912" indent="-187320">
              <a:spcAft>
                <a:spcPts val="1000"/>
              </a:spcAft>
              <a:defRPr>
                <a:solidFill>
                  <a:srgbClr val="FFFFFF"/>
                </a:solidFill>
                <a:latin typeface="+mj-lt"/>
              </a:defRPr>
            </a:lvl2pPr>
            <a:lvl3pPr marL="720707" indent="-177796">
              <a:spcAft>
                <a:spcPts val="1000"/>
              </a:spcAft>
              <a:defRPr>
                <a:solidFill>
                  <a:srgbClr val="FFFFFF"/>
                </a:solidFill>
                <a:latin typeface="+mj-lt"/>
              </a:defRPr>
            </a:lvl3pPr>
            <a:lvl4pPr marL="898502" indent="-177796">
              <a:spcAft>
                <a:spcPts val="1000"/>
              </a:spcAft>
              <a:defRPr>
                <a:solidFill>
                  <a:srgbClr val="FFFFFF"/>
                </a:solidFill>
                <a:latin typeface="+mj-lt"/>
              </a:defRPr>
            </a:lvl4pPr>
            <a:lvl5pPr marL="1076298" indent="-177796">
              <a:spcAft>
                <a:spcPts val="1000"/>
              </a:spcAft>
              <a:defRPr>
                <a:solidFill>
                  <a:srgbClr val="FFFFFF"/>
                </a:solidFill>
                <a:latin typeface="+mj-l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p:cNvSpPr>
            <a:spLocks noGrp="1"/>
          </p:cNvSpPr>
          <p:nvPr>
            <p:ph type="ftr" sz="quarter" idx="11"/>
          </p:nvPr>
        </p:nvSpPr>
        <p:spPr/>
        <p:txBody>
          <a:bodyPr/>
          <a:lstStyle>
            <a:lvl1pPr>
              <a:defRPr>
                <a:solidFill>
                  <a:srgbClr val="FFFFFF"/>
                </a:solidFill>
              </a:defRPr>
            </a:lvl1pPr>
          </a:lstStyle>
          <a:p>
            <a:endParaRPr lang="de-DE"/>
          </a:p>
        </p:txBody>
      </p:sp>
      <p:pic>
        <p:nvPicPr>
          <p:cNvPr id="6" name="EON_Logo_w"/>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179733294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2 columns blue">
    <p:bg>
      <p:bgPr>
        <a:solidFill>
          <a:srgbClr val="5CC1CB"/>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FFFFFF"/>
                </a:solidFill>
              </a:defRPr>
            </a:lvl1pPr>
          </a:lstStyle>
          <a:p>
            <a:r>
              <a:rPr lang="de-DE"/>
              <a:t>Titelmasterformat durch Klicken bearbeiten</a:t>
            </a:r>
          </a:p>
        </p:txBody>
      </p:sp>
      <p:sp>
        <p:nvSpPr>
          <p:cNvPr id="3" name="Inhaltsplatzhalter 2"/>
          <p:cNvSpPr>
            <a:spLocks noGrp="1"/>
          </p:cNvSpPr>
          <p:nvPr>
            <p:ph sz="half" idx="1"/>
          </p:nvPr>
        </p:nvSpPr>
        <p:spPr>
          <a:xfrm>
            <a:off x="378000" y="1371600"/>
            <a:ext cx="4068000" cy="2340000"/>
          </a:xfrm>
        </p:spPr>
        <p:txBody>
          <a:bodyPr>
            <a:noAutofit/>
          </a:bodyPr>
          <a:lstStyle>
            <a:lvl1pPr marL="355591" indent="-355591">
              <a:spcAft>
                <a:spcPts val="1000"/>
              </a:spcAft>
              <a:buFont typeface="+mj-lt"/>
              <a:buAutoNum type="arabicPeriod"/>
              <a:defRPr sz="1400">
                <a:solidFill>
                  <a:srgbClr val="FFFFFF"/>
                </a:solidFill>
                <a:latin typeface="+mj-lt"/>
              </a:defRPr>
            </a:lvl1pPr>
            <a:lvl2pPr marL="542912" indent="-187320">
              <a:spcAft>
                <a:spcPts val="1000"/>
              </a:spcAft>
              <a:defRPr sz="1400">
                <a:solidFill>
                  <a:srgbClr val="FFFFFF"/>
                </a:solidFill>
                <a:latin typeface="+mj-lt"/>
              </a:defRPr>
            </a:lvl2pPr>
            <a:lvl3pPr marL="720707" indent="-177796">
              <a:spcAft>
                <a:spcPts val="1000"/>
              </a:spcAft>
              <a:defRPr sz="1400">
                <a:solidFill>
                  <a:srgbClr val="FFFFFF"/>
                </a:solidFill>
                <a:latin typeface="+mj-lt"/>
              </a:defRPr>
            </a:lvl3pPr>
            <a:lvl4pPr marL="898502" indent="-177796">
              <a:spcAft>
                <a:spcPts val="1000"/>
              </a:spcAft>
              <a:defRPr sz="1400">
                <a:solidFill>
                  <a:srgbClr val="FFFFFF"/>
                </a:solidFill>
                <a:latin typeface="+mj-lt"/>
              </a:defRPr>
            </a:lvl4pPr>
            <a:lvl5pPr marL="1076298" indent="-177796">
              <a:spcAft>
                <a:spcPts val="1000"/>
              </a:spcAft>
              <a:defRPr sz="1400">
                <a:solidFill>
                  <a:srgbClr val="FFFFFF"/>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98000" y="1371600"/>
            <a:ext cx="4068000" cy="2340000"/>
          </a:xfrm>
        </p:spPr>
        <p:txBody>
          <a:bodyPr>
            <a:noAutofit/>
          </a:bodyPr>
          <a:lstStyle>
            <a:lvl1pPr marL="355591" indent="-355591">
              <a:spcAft>
                <a:spcPts val="1000"/>
              </a:spcAft>
              <a:buFont typeface="+mj-lt"/>
              <a:buAutoNum type="arabicPeriod"/>
              <a:defRPr sz="1400">
                <a:solidFill>
                  <a:srgbClr val="FFFFFF"/>
                </a:solidFill>
                <a:latin typeface="+mj-lt"/>
              </a:defRPr>
            </a:lvl1pPr>
            <a:lvl2pPr marL="542912" indent="-187320">
              <a:spcAft>
                <a:spcPts val="1000"/>
              </a:spcAft>
              <a:defRPr sz="1400">
                <a:solidFill>
                  <a:srgbClr val="FFFFFF"/>
                </a:solidFill>
                <a:latin typeface="+mj-lt"/>
              </a:defRPr>
            </a:lvl2pPr>
            <a:lvl3pPr marL="720707" indent="-177796">
              <a:spcAft>
                <a:spcPts val="1000"/>
              </a:spcAft>
              <a:defRPr sz="1400">
                <a:solidFill>
                  <a:srgbClr val="FFFFFF"/>
                </a:solidFill>
                <a:latin typeface="+mj-lt"/>
              </a:defRPr>
            </a:lvl3pPr>
            <a:lvl4pPr marL="898502" indent="-177796">
              <a:spcAft>
                <a:spcPts val="1000"/>
              </a:spcAft>
              <a:defRPr sz="1400">
                <a:solidFill>
                  <a:srgbClr val="FFFFFF"/>
                </a:solidFill>
                <a:latin typeface="+mj-lt"/>
              </a:defRPr>
            </a:lvl4pPr>
            <a:lvl5pPr marL="1076298" indent="-177796">
              <a:spcAft>
                <a:spcPts val="1000"/>
              </a:spcAft>
              <a:defRPr sz="1400">
                <a:solidFill>
                  <a:srgbClr val="FFFFFF"/>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a:solidFill>
                  <a:srgbClr val="FFFFFF"/>
                </a:solidFill>
              </a:defRPr>
            </a:lvl1pPr>
          </a:lstStyle>
          <a:p>
            <a:endParaRPr lang="de-DE"/>
          </a:p>
        </p:txBody>
      </p:sp>
      <p:pic>
        <p:nvPicPr>
          <p:cNvPr id="9" name="EON_Logo_w"/>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745060807"/>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genda 3 columns blue">
    <p:bg>
      <p:bgPr>
        <a:solidFill>
          <a:srgbClr val="5CC1CB"/>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solidFill>
                  <a:srgbClr val="FFFFFF"/>
                </a:solidFill>
              </a:defRPr>
            </a:lvl1pPr>
          </a:lstStyle>
          <a:p>
            <a:r>
              <a:rPr lang="de-DE"/>
              <a:t>Titelmasterformat durch Klicken bearbeiten</a:t>
            </a:r>
          </a:p>
        </p:txBody>
      </p:sp>
      <p:sp>
        <p:nvSpPr>
          <p:cNvPr id="3" name="Inhaltsplatzhalter 2"/>
          <p:cNvSpPr>
            <a:spLocks noGrp="1"/>
          </p:cNvSpPr>
          <p:nvPr>
            <p:ph sz="half" idx="1"/>
          </p:nvPr>
        </p:nvSpPr>
        <p:spPr>
          <a:xfrm>
            <a:off x="378000" y="1371600"/>
            <a:ext cx="2628000" cy="2340000"/>
          </a:xfrm>
        </p:spPr>
        <p:txBody>
          <a:bodyPr>
            <a:noAutofit/>
          </a:bodyPr>
          <a:lstStyle>
            <a:lvl1pPr marL="355591" indent="-355591">
              <a:spcAft>
                <a:spcPts val="1000"/>
              </a:spcAft>
              <a:buFont typeface="+mj-lt"/>
              <a:buAutoNum type="arabicPeriod"/>
              <a:defRPr sz="1400">
                <a:solidFill>
                  <a:srgbClr val="FFFFFF"/>
                </a:solidFill>
                <a:latin typeface="+mj-lt"/>
              </a:defRPr>
            </a:lvl1pPr>
            <a:lvl2pPr marL="542912" indent="-187320">
              <a:spcAft>
                <a:spcPts val="1000"/>
              </a:spcAft>
              <a:defRPr sz="1400">
                <a:solidFill>
                  <a:srgbClr val="FFFFFF"/>
                </a:solidFill>
                <a:latin typeface="+mj-lt"/>
              </a:defRPr>
            </a:lvl2pPr>
            <a:lvl3pPr marL="720707" indent="-177796">
              <a:spcAft>
                <a:spcPts val="1000"/>
              </a:spcAft>
              <a:defRPr sz="1400">
                <a:solidFill>
                  <a:srgbClr val="FFFFFF"/>
                </a:solidFill>
                <a:latin typeface="+mj-lt"/>
              </a:defRPr>
            </a:lvl3pPr>
            <a:lvl4pPr marL="898502" indent="-177796">
              <a:spcAft>
                <a:spcPts val="1000"/>
              </a:spcAft>
              <a:defRPr sz="1400">
                <a:solidFill>
                  <a:srgbClr val="FFFFFF"/>
                </a:solidFill>
                <a:latin typeface="+mj-lt"/>
              </a:defRPr>
            </a:lvl4pPr>
            <a:lvl5pPr marL="1076298" indent="-177796">
              <a:spcAft>
                <a:spcPts val="1000"/>
              </a:spcAft>
              <a:defRPr sz="1400">
                <a:solidFill>
                  <a:srgbClr val="FFFFFF"/>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258000" y="1371600"/>
            <a:ext cx="2628000" cy="2340000"/>
          </a:xfrm>
        </p:spPr>
        <p:txBody>
          <a:bodyPr>
            <a:noAutofit/>
          </a:bodyPr>
          <a:lstStyle>
            <a:lvl1pPr marL="355591" indent="-355591">
              <a:spcAft>
                <a:spcPts val="1000"/>
              </a:spcAft>
              <a:buFont typeface="+mj-lt"/>
              <a:buAutoNum type="arabicPeriod"/>
              <a:defRPr sz="1400">
                <a:solidFill>
                  <a:srgbClr val="FFFFFF"/>
                </a:solidFill>
                <a:latin typeface="+mj-lt"/>
              </a:defRPr>
            </a:lvl1pPr>
            <a:lvl2pPr marL="542912" indent="-187320">
              <a:spcAft>
                <a:spcPts val="1000"/>
              </a:spcAft>
              <a:defRPr sz="1400">
                <a:solidFill>
                  <a:srgbClr val="FFFFFF"/>
                </a:solidFill>
                <a:latin typeface="+mj-lt"/>
              </a:defRPr>
            </a:lvl2pPr>
            <a:lvl3pPr marL="720707" indent="-177796">
              <a:spcAft>
                <a:spcPts val="1000"/>
              </a:spcAft>
              <a:defRPr sz="1400">
                <a:solidFill>
                  <a:srgbClr val="FFFFFF"/>
                </a:solidFill>
                <a:latin typeface="+mj-lt"/>
              </a:defRPr>
            </a:lvl3pPr>
            <a:lvl4pPr marL="898502" indent="-177796">
              <a:spcAft>
                <a:spcPts val="1000"/>
              </a:spcAft>
              <a:defRPr sz="1400">
                <a:solidFill>
                  <a:srgbClr val="FFFFFF"/>
                </a:solidFill>
                <a:latin typeface="+mj-lt"/>
              </a:defRPr>
            </a:lvl4pPr>
            <a:lvl5pPr marL="1076298" indent="-177796">
              <a:spcAft>
                <a:spcPts val="1000"/>
              </a:spcAft>
              <a:defRPr sz="1400">
                <a:solidFill>
                  <a:srgbClr val="FFFFFF"/>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11"/>
          </p:nvPr>
        </p:nvSpPr>
        <p:spPr/>
        <p:txBody>
          <a:bodyPr/>
          <a:lstStyle>
            <a:lvl1pPr>
              <a:defRPr>
                <a:solidFill>
                  <a:srgbClr val="FFFFFF"/>
                </a:solidFill>
              </a:defRPr>
            </a:lvl1pPr>
          </a:lstStyle>
          <a:p>
            <a:endParaRPr lang="de-DE"/>
          </a:p>
        </p:txBody>
      </p:sp>
      <p:sp>
        <p:nvSpPr>
          <p:cNvPr id="8" name="Inhaltsplatzhalter 3"/>
          <p:cNvSpPr>
            <a:spLocks noGrp="1"/>
          </p:cNvSpPr>
          <p:nvPr>
            <p:ph sz="half" idx="13"/>
          </p:nvPr>
        </p:nvSpPr>
        <p:spPr>
          <a:xfrm>
            <a:off x="6141600" y="1371600"/>
            <a:ext cx="2628000" cy="2340000"/>
          </a:xfrm>
        </p:spPr>
        <p:txBody>
          <a:bodyPr>
            <a:noAutofit/>
          </a:bodyPr>
          <a:lstStyle>
            <a:lvl1pPr marL="355591" indent="-355591">
              <a:spcAft>
                <a:spcPts val="1000"/>
              </a:spcAft>
              <a:buFont typeface="+mj-lt"/>
              <a:buAutoNum type="arabicPeriod"/>
              <a:defRPr sz="1400">
                <a:solidFill>
                  <a:srgbClr val="FFFFFF"/>
                </a:solidFill>
                <a:latin typeface="+mj-lt"/>
              </a:defRPr>
            </a:lvl1pPr>
            <a:lvl2pPr marL="542912" indent="-187320">
              <a:spcAft>
                <a:spcPts val="1000"/>
              </a:spcAft>
              <a:defRPr sz="1400">
                <a:solidFill>
                  <a:srgbClr val="FFFFFF"/>
                </a:solidFill>
                <a:latin typeface="+mj-lt"/>
              </a:defRPr>
            </a:lvl2pPr>
            <a:lvl3pPr marL="720707" indent="-177796">
              <a:spcAft>
                <a:spcPts val="1000"/>
              </a:spcAft>
              <a:defRPr sz="1400">
                <a:solidFill>
                  <a:srgbClr val="FFFFFF"/>
                </a:solidFill>
                <a:latin typeface="+mj-lt"/>
              </a:defRPr>
            </a:lvl3pPr>
            <a:lvl4pPr marL="898502" indent="-177796">
              <a:spcAft>
                <a:spcPts val="1000"/>
              </a:spcAft>
              <a:defRPr sz="1400">
                <a:solidFill>
                  <a:srgbClr val="FFFFFF"/>
                </a:solidFill>
                <a:latin typeface="+mj-lt"/>
              </a:defRPr>
            </a:lvl4pPr>
            <a:lvl5pPr marL="1076298" indent="-177796">
              <a:spcAft>
                <a:spcPts val="1000"/>
              </a:spcAft>
              <a:defRPr sz="1400">
                <a:solidFill>
                  <a:srgbClr val="FFFFFF"/>
                </a:solidFill>
                <a:latin typeface="+mj-lt"/>
              </a:defRPr>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pic>
        <p:nvPicPr>
          <p:cNvPr id="9" name="EON_Logo_w"/>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6002" y="4323600"/>
            <a:ext cx="1554195" cy="460800"/>
          </a:xfrm>
          <a:prstGeom prst="rect">
            <a:avLst/>
          </a:prstGeom>
        </p:spPr>
      </p:pic>
    </p:spTree>
    <p:extLst>
      <p:ext uri="{BB962C8B-B14F-4D97-AF65-F5344CB8AC3E}">
        <p14:creationId xmlns:p14="http://schemas.microsoft.com/office/powerpoint/2010/main" val="3618343338"/>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full color">
    <p:bg>
      <p:bgPr>
        <a:solidFill>
          <a:srgbClr val="B00402"/>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831600" y="1573200"/>
            <a:ext cx="6012000" cy="1224000"/>
          </a:xfrm>
        </p:spPr>
        <p:txBody>
          <a:bodyPr anchor="b" anchorCtr="0">
            <a:noAutofit/>
          </a:bodyPr>
          <a:lstStyle>
            <a:lvl1pPr algn="r">
              <a:lnSpc>
                <a:spcPts val="4600"/>
              </a:lnSpc>
              <a:defRPr sz="4600" kern="100" baseline="0">
                <a:solidFill>
                  <a:srgbClr val="FFFFFF"/>
                </a:solidFill>
              </a:defRPr>
            </a:lvl1pPr>
          </a:lstStyle>
          <a:p>
            <a:r>
              <a:rPr lang="de-DE"/>
              <a:t>Titelmasterformat durch Klicken bearbeiten</a:t>
            </a:r>
          </a:p>
        </p:txBody>
      </p:sp>
      <p:sp>
        <p:nvSpPr>
          <p:cNvPr id="3" name="Untertitel 2"/>
          <p:cNvSpPr>
            <a:spLocks noGrp="1"/>
          </p:cNvSpPr>
          <p:nvPr>
            <p:ph type="subTitle" idx="1"/>
          </p:nvPr>
        </p:nvSpPr>
        <p:spPr>
          <a:xfrm>
            <a:off x="831600" y="2901600"/>
            <a:ext cx="6012000" cy="543600"/>
          </a:xfrm>
        </p:spPr>
        <p:txBody>
          <a:bodyPr>
            <a:noAutofit/>
          </a:bodyPr>
          <a:lstStyle>
            <a:lvl1pPr marL="0" indent="0" algn="r">
              <a:lnSpc>
                <a:spcPct val="100000"/>
              </a:lnSpc>
              <a:spcAft>
                <a:spcPts val="600"/>
              </a:spcAft>
              <a:buNone/>
              <a:defRPr sz="1900" kern="100" baseline="0">
                <a:solidFill>
                  <a:srgbClr val="FFFFFF"/>
                </a:solidFill>
                <a:latin typeface="+mj-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5414400" y="522000"/>
            <a:ext cx="1440000" cy="144000"/>
          </a:xfrm>
        </p:spPr>
        <p:txBody>
          <a:bodyPr/>
          <a:lstStyle>
            <a:lvl1pPr algn="r">
              <a:defRPr>
                <a:solidFill>
                  <a:srgbClr val="FFFFFF"/>
                </a:solidFill>
              </a:defRPr>
            </a:lvl1pPr>
          </a:lstStyle>
          <a:p>
            <a:endParaRPr lang="de-DE"/>
          </a:p>
        </p:txBody>
      </p:sp>
      <p:grpSp>
        <p:nvGrpSpPr>
          <p:cNvPr id="11" name="Gruppieren 10"/>
          <p:cNvGrpSpPr/>
          <p:nvPr userDrawn="1"/>
        </p:nvGrpSpPr>
        <p:grpSpPr>
          <a:xfrm>
            <a:off x="0" y="0"/>
            <a:ext cx="9144000" cy="5144400"/>
            <a:chOff x="0" y="0"/>
            <a:chExt cx="9144000" cy="5144400"/>
          </a:xfrm>
        </p:grpSpPr>
        <p:sp>
          <p:nvSpPr>
            <p:cNvPr id="7" name="Rechteck 6"/>
            <p:cNvSpPr/>
            <p:nvPr userDrawn="1"/>
          </p:nvSpPr>
          <p:spPr>
            <a:xfrm>
              <a:off x="0" y="0"/>
              <a:ext cx="223200" cy="5144400"/>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8" name="Rechteck 7"/>
            <p:cNvSpPr/>
            <p:nvPr userDrawn="1"/>
          </p:nvSpPr>
          <p:spPr>
            <a:xfrm>
              <a:off x="7786800" y="0"/>
              <a:ext cx="13572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7218000" y="0"/>
              <a:ext cx="5688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pic>
        <p:nvPicPr>
          <p:cNvPr id="6" name="EON_Logo_w"/>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9601" y="3708000"/>
            <a:ext cx="2124877" cy="630000"/>
          </a:xfrm>
          <a:prstGeom prst="rect">
            <a:avLst/>
          </a:prstGeom>
        </p:spPr>
      </p:pic>
    </p:spTree>
    <p:extLst>
      <p:ext uri="{BB962C8B-B14F-4D97-AF65-F5344CB8AC3E}">
        <p14:creationId xmlns:p14="http://schemas.microsoft.com/office/powerpoint/2010/main" val="3500537401"/>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pter less colour">
    <p:spTree>
      <p:nvGrpSpPr>
        <p:cNvPr id="1" name=""/>
        <p:cNvGrpSpPr/>
        <p:nvPr/>
      </p:nvGrpSpPr>
      <p:grpSpPr>
        <a:xfrm>
          <a:off x="0" y="0"/>
          <a:ext cx="0" cy="0"/>
          <a:chOff x="0" y="0"/>
          <a:chExt cx="0" cy="0"/>
        </a:xfrm>
      </p:grpSpPr>
      <p:sp>
        <p:nvSpPr>
          <p:cNvPr id="2" name="Titel 1"/>
          <p:cNvSpPr>
            <a:spLocks noGrp="1"/>
          </p:cNvSpPr>
          <p:nvPr>
            <p:ph type="title"/>
          </p:nvPr>
        </p:nvSpPr>
        <p:spPr>
          <a:xfrm>
            <a:off x="1566000" y="1159200"/>
            <a:ext cx="6012000" cy="2574000"/>
          </a:xfrm>
        </p:spPr>
        <p:txBody>
          <a:bodyPr anchor="b" anchorCtr="0">
            <a:noAutofit/>
          </a:bodyPr>
          <a:lstStyle>
            <a:lvl1pPr algn="r">
              <a:lnSpc>
                <a:spcPts val="6400"/>
              </a:lnSpc>
              <a:defRPr sz="6400" b="0" cap="none" baseline="0"/>
            </a:lvl1pPr>
          </a:lstStyle>
          <a:p>
            <a:r>
              <a:rPr lang="de-DE"/>
              <a:t>Titelmasterformat durch Klicken bearbeiten</a:t>
            </a:r>
          </a:p>
        </p:txBody>
      </p:sp>
      <p:grpSp>
        <p:nvGrpSpPr>
          <p:cNvPr id="10" name="Gruppieren 9"/>
          <p:cNvGrpSpPr/>
          <p:nvPr userDrawn="1"/>
        </p:nvGrpSpPr>
        <p:grpSpPr>
          <a:xfrm>
            <a:off x="7974000" y="0"/>
            <a:ext cx="1170000" cy="5144400"/>
            <a:chOff x="7974000" y="0"/>
            <a:chExt cx="1170000" cy="5144400"/>
          </a:xfrm>
        </p:grpSpPr>
        <p:sp>
          <p:nvSpPr>
            <p:cNvPr id="7" name="Rechteck 6"/>
            <p:cNvSpPr/>
            <p:nvPr userDrawn="1"/>
          </p:nvSpPr>
          <p:spPr>
            <a:xfrm>
              <a:off x="8766000" y="0"/>
              <a:ext cx="3780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8" name="Rechteck 7"/>
            <p:cNvSpPr/>
            <p:nvPr userDrawn="1"/>
          </p:nvSpPr>
          <p:spPr>
            <a:xfrm>
              <a:off x="8197200" y="0"/>
              <a:ext cx="5688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7974000" y="0"/>
              <a:ext cx="223200" cy="5144400"/>
            </a:xfrm>
            <a:prstGeom prst="rect">
              <a:avLst/>
            </a:prstGeom>
            <a:solidFill>
              <a:srgbClr val="B00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spTree>
    <p:extLst>
      <p:ext uri="{BB962C8B-B14F-4D97-AF65-F5344CB8AC3E}">
        <p14:creationId xmlns:p14="http://schemas.microsoft.com/office/powerpoint/2010/main" val="2396922837"/>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full color 1">
    <p:bg>
      <p:bgPr>
        <a:solidFill>
          <a:srgbClr val="5CC1CB"/>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262800" y="1159200"/>
            <a:ext cx="6012000" cy="2574000"/>
          </a:xfrm>
        </p:spPr>
        <p:txBody>
          <a:bodyPr anchor="b" anchorCtr="0">
            <a:noAutofit/>
          </a:bodyPr>
          <a:lstStyle>
            <a:lvl1pPr algn="r">
              <a:lnSpc>
                <a:spcPts val="6400"/>
              </a:lnSpc>
              <a:defRPr sz="6400" b="0" cap="none" baseline="0">
                <a:solidFill>
                  <a:srgbClr val="FFFFFF"/>
                </a:solidFill>
              </a:defRPr>
            </a:lvl1pPr>
          </a:lstStyle>
          <a:p>
            <a:r>
              <a:rPr lang="de-DE"/>
              <a:t>Titelmasterformat durch Klicken bearbeiten</a:t>
            </a:r>
          </a:p>
        </p:txBody>
      </p:sp>
      <p:grpSp>
        <p:nvGrpSpPr>
          <p:cNvPr id="3" name="Gruppieren 2"/>
          <p:cNvGrpSpPr/>
          <p:nvPr userDrawn="1"/>
        </p:nvGrpSpPr>
        <p:grpSpPr>
          <a:xfrm>
            <a:off x="6652800" y="0"/>
            <a:ext cx="2491200" cy="5144400"/>
            <a:chOff x="6652800" y="0"/>
            <a:chExt cx="2491200" cy="5144400"/>
          </a:xfrm>
        </p:grpSpPr>
        <p:sp>
          <p:nvSpPr>
            <p:cNvPr id="8" name="Rechteck 7"/>
            <p:cNvSpPr/>
            <p:nvPr userDrawn="1"/>
          </p:nvSpPr>
          <p:spPr>
            <a:xfrm>
              <a:off x="7030800" y="0"/>
              <a:ext cx="21132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6652800" y="0"/>
              <a:ext cx="378000" cy="5144400"/>
            </a:xfrm>
            <a:prstGeom prst="rect">
              <a:avLst/>
            </a:prstGeom>
            <a:solidFill>
              <a:srgbClr val="B00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spTree>
    <p:extLst>
      <p:ext uri="{BB962C8B-B14F-4D97-AF65-F5344CB8AC3E}">
        <p14:creationId xmlns:p14="http://schemas.microsoft.com/office/powerpoint/2010/main" val="3818634477"/>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full color 2">
    <p:bg>
      <p:bgPr>
        <a:solidFill>
          <a:srgbClr val="B0040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018800" y="1159200"/>
            <a:ext cx="6012000" cy="2574000"/>
          </a:xfrm>
        </p:spPr>
        <p:txBody>
          <a:bodyPr anchor="b" anchorCtr="0">
            <a:noAutofit/>
          </a:bodyPr>
          <a:lstStyle>
            <a:lvl1pPr algn="r">
              <a:lnSpc>
                <a:spcPts val="6400"/>
              </a:lnSpc>
              <a:defRPr sz="6400" b="0" cap="none" baseline="0">
                <a:solidFill>
                  <a:srgbClr val="FFFFFF"/>
                </a:solidFill>
              </a:defRPr>
            </a:lvl1pPr>
          </a:lstStyle>
          <a:p>
            <a:r>
              <a:rPr lang="de-DE"/>
              <a:t>Titelmasterformat durch Klicken bearbeiten</a:t>
            </a:r>
          </a:p>
        </p:txBody>
      </p:sp>
      <p:sp>
        <p:nvSpPr>
          <p:cNvPr id="8" name="Rechteck 7"/>
          <p:cNvSpPr/>
          <p:nvPr userDrawn="1"/>
        </p:nvSpPr>
        <p:spPr>
          <a:xfrm>
            <a:off x="7408800" y="0"/>
            <a:ext cx="17352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0" y="0"/>
            <a:ext cx="601200" cy="5144400"/>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Tree>
    <p:extLst>
      <p:ext uri="{BB962C8B-B14F-4D97-AF65-F5344CB8AC3E}">
        <p14:creationId xmlns:p14="http://schemas.microsoft.com/office/powerpoint/2010/main" val="7022500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ing chart less color">
    <p:spTree>
      <p:nvGrpSpPr>
        <p:cNvPr id="1" name=""/>
        <p:cNvGrpSpPr/>
        <p:nvPr/>
      </p:nvGrpSpPr>
      <p:grpSpPr>
        <a:xfrm>
          <a:off x="0" y="0"/>
          <a:ext cx="0" cy="0"/>
          <a:chOff x="0" y="0"/>
          <a:chExt cx="0" cy="0"/>
        </a:xfrm>
      </p:grpSpPr>
      <p:pic>
        <p:nvPicPr>
          <p:cNvPr id="5" name="EON_Logo_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79203" y="3261600"/>
            <a:ext cx="2124877" cy="630000"/>
          </a:xfrm>
          <a:prstGeom prst="rect">
            <a:avLst/>
          </a:prstGeom>
        </p:spPr>
      </p:pic>
      <p:grpSp>
        <p:nvGrpSpPr>
          <p:cNvPr id="11" name="Gruppieren 10"/>
          <p:cNvGrpSpPr/>
          <p:nvPr userDrawn="1"/>
        </p:nvGrpSpPr>
        <p:grpSpPr>
          <a:xfrm>
            <a:off x="7974000" y="0"/>
            <a:ext cx="1170000" cy="5144400"/>
            <a:chOff x="7974000" y="0"/>
            <a:chExt cx="1170000" cy="5144400"/>
          </a:xfrm>
        </p:grpSpPr>
        <p:sp>
          <p:nvSpPr>
            <p:cNvPr id="8" name="Rechteck 7"/>
            <p:cNvSpPr/>
            <p:nvPr userDrawn="1"/>
          </p:nvSpPr>
          <p:spPr>
            <a:xfrm>
              <a:off x="8766000" y="0"/>
              <a:ext cx="3780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8197200" y="0"/>
              <a:ext cx="5688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10" name="Rechteck 9"/>
            <p:cNvSpPr/>
            <p:nvPr userDrawn="1"/>
          </p:nvSpPr>
          <p:spPr>
            <a:xfrm>
              <a:off x="7974000" y="0"/>
              <a:ext cx="223200" cy="5144400"/>
            </a:xfrm>
            <a:prstGeom prst="rect">
              <a:avLst/>
            </a:prstGeom>
            <a:solidFill>
              <a:srgbClr val="B00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sp>
        <p:nvSpPr>
          <p:cNvPr id="3" name="Textplatzhalter 2"/>
          <p:cNvSpPr>
            <a:spLocks noGrp="1"/>
          </p:cNvSpPr>
          <p:nvPr>
            <p:ph type="body" sz="quarter" idx="10"/>
          </p:nvPr>
        </p:nvSpPr>
        <p:spPr>
          <a:xfrm>
            <a:off x="2804400" y="1159200"/>
            <a:ext cx="4791600" cy="1080000"/>
          </a:xfrm>
        </p:spPr>
        <p:txBody>
          <a:bodyPr/>
          <a:lstStyle>
            <a:lvl1pPr algn="r">
              <a:lnSpc>
                <a:spcPct val="100000"/>
              </a:lnSpc>
              <a:spcAft>
                <a:spcPts val="0"/>
              </a:spcAft>
              <a:defRPr sz="6000">
                <a:solidFill>
                  <a:srgbClr val="EA1C0A"/>
                </a:solidFill>
                <a:latin typeface="+mj-lt"/>
              </a:defRPr>
            </a:lvl1pPr>
            <a:lvl2pPr algn="r">
              <a:lnSpc>
                <a:spcPct val="100000"/>
              </a:lnSpc>
              <a:spcAft>
                <a:spcPts val="0"/>
              </a:spcAft>
              <a:defRPr sz="6000">
                <a:solidFill>
                  <a:srgbClr val="EA1C0A"/>
                </a:solidFill>
                <a:latin typeface="+mj-lt"/>
              </a:defRPr>
            </a:lvl2pPr>
            <a:lvl3pPr algn="r">
              <a:lnSpc>
                <a:spcPct val="100000"/>
              </a:lnSpc>
              <a:spcAft>
                <a:spcPts val="0"/>
              </a:spcAft>
              <a:defRPr sz="6000">
                <a:solidFill>
                  <a:srgbClr val="EA1C0A"/>
                </a:solidFill>
                <a:latin typeface="+mj-lt"/>
              </a:defRPr>
            </a:lvl3pPr>
            <a:lvl4pPr algn="r">
              <a:lnSpc>
                <a:spcPct val="100000"/>
              </a:lnSpc>
              <a:spcAft>
                <a:spcPts val="0"/>
              </a:spcAft>
              <a:defRPr sz="6000">
                <a:solidFill>
                  <a:srgbClr val="EA1C0A"/>
                </a:solidFill>
                <a:latin typeface="+mj-lt"/>
              </a:defRPr>
            </a:lvl4pPr>
            <a:lvl5pPr algn="r">
              <a:lnSpc>
                <a:spcPct val="100000"/>
              </a:lnSpc>
              <a:spcAft>
                <a:spcPts val="0"/>
              </a:spcAft>
              <a:defRPr sz="6000">
                <a:solidFill>
                  <a:srgbClr val="EA1C0A"/>
                </a:solidFill>
                <a:latin typeface="+mj-lt"/>
              </a:defRPr>
            </a:lvl5pPr>
          </a:lstStyle>
          <a:p>
            <a:pPr lvl="0"/>
            <a:endParaRPr lang="de-DE"/>
          </a:p>
        </p:txBody>
      </p:sp>
      <p:sp>
        <p:nvSpPr>
          <p:cNvPr id="7" name="Textplatzhalter 6"/>
          <p:cNvSpPr>
            <a:spLocks noGrp="1"/>
          </p:cNvSpPr>
          <p:nvPr>
            <p:ph type="body" sz="quarter" idx="11"/>
          </p:nvPr>
        </p:nvSpPr>
        <p:spPr>
          <a:xfrm>
            <a:off x="2804400" y="2268000"/>
            <a:ext cx="4791600" cy="774000"/>
          </a:xfrm>
        </p:spPr>
        <p:txBody>
          <a:bodyPr/>
          <a:lstStyle>
            <a:lvl1pPr algn="r">
              <a:lnSpc>
                <a:spcPct val="100000"/>
              </a:lnSpc>
              <a:spcAft>
                <a:spcPts val="0"/>
              </a:spcAft>
              <a:defRPr sz="2500">
                <a:solidFill>
                  <a:srgbClr val="EA1C0A"/>
                </a:solidFill>
              </a:defRPr>
            </a:lvl1pPr>
          </a:lstStyle>
          <a:p>
            <a:pPr lvl="0"/>
            <a:endParaRPr lang="de-DE"/>
          </a:p>
        </p:txBody>
      </p:sp>
    </p:spTree>
    <p:extLst>
      <p:ext uri="{BB962C8B-B14F-4D97-AF65-F5344CB8AC3E}">
        <p14:creationId xmlns:p14="http://schemas.microsoft.com/office/powerpoint/2010/main" val="47400522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chart full color">
    <p:bg>
      <p:bgPr>
        <a:solidFill>
          <a:srgbClr val="EA1C0A"/>
        </a:solidFill>
        <a:effectLst/>
      </p:bgPr>
    </p:bg>
    <p:spTree>
      <p:nvGrpSpPr>
        <p:cNvPr id="1" name=""/>
        <p:cNvGrpSpPr/>
        <p:nvPr/>
      </p:nvGrpSpPr>
      <p:grpSpPr>
        <a:xfrm>
          <a:off x="0" y="0"/>
          <a:ext cx="0" cy="0"/>
          <a:chOff x="0" y="0"/>
          <a:chExt cx="0" cy="0"/>
        </a:xfrm>
      </p:grpSpPr>
      <p:sp>
        <p:nvSpPr>
          <p:cNvPr id="8" name="Rechteck 7"/>
          <p:cNvSpPr/>
          <p:nvPr userDrawn="1"/>
        </p:nvSpPr>
        <p:spPr>
          <a:xfrm>
            <a:off x="788400" y="0"/>
            <a:ext cx="3780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0" y="0"/>
            <a:ext cx="788400" cy="5144400"/>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10" name="Rechteck 9"/>
          <p:cNvSpPr/>
          <p:nvPr userDrawn="1"/>
        </p:nvSpPr>
        <p:spPr>
          <a:xfrm>
            <a:off x="6343200" y="0"/>
            <a:ext cx="2800800" cy="5144400"/>
          </a:xfrm>
          <a:prstGeom prst="rect">
            <a:avLst/>
          </a:prstGeom>
          <a:solidFill>
            <a:srgbClr val="B004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pic>
        <p:nvPicPr>
          <p:cNvPr id="2" name="EON_Logo_w"/>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841202" y="3261600"/>
            <a:ext cx="2124877" cy="630000"/>
          </a:xfrm>
          <a:prstGeom prst="rect">
            <a:avLst/>
          </a:prstGeom>
        </p:spPr>
      </p:pic>
      <p:sp>
        <p:nvSpPr>
          <p:cNvPr id="4" name="Textplatzhalter 3"/>
          <p:cNvSpPr>
            <a:spLocks noGrp="1"/>
          </p:cNvSpPr>
          <p:nvPr>
            <p:ph type="body" sz="quarter" idx="10"/>
          </p:nvPr>
        </p:nvSpPr>
        <p:spPr>
          <a:xfrm>
            <a:off x="1166400" y="1159200"/>
            <a:ext cx="4791600" cy="1080000"/>
          </a:xfrm>
        </p:spPr>
        <p:txBody>
          <a:bodyPr/>
          <a:lstStyle>
            <a:lvl1pPr algn="r">
              <a:lnSpc>
                <a:spcPct val="100000"/>
              </a:lnSpc>
              <a:spcAft>
                <a:spcPts val="0"/>
              </a:spcAft>
              <a:defRPr sz="6000">
                <a:solidFill>
                  <a:srgbClr val="FFFFFF"/>
                </a:solidFill>
                <a:latin typeface="+mj-lt"/>
              </a:defRPr>
            </a:lvl1pPr>
            <a:lvl2pPr algn="r">
              <a:lnSpc>
                <a:spcPct val="100000"/>
              </a:lnSpc>
              <a:spcAft>
                <a:spcPts val="0"/>
              </a:spcAft>
              <a:defRPr sz="6000">
                <a:solidFill>
                  <a:srgbClr val="FFFFFF"/>
                </a:solidFill>
                <a:latin typeface="+mj-lt"/>
              </a:defRPr>
            </a:lvl2pPr>
            <a:lvl3pPr algn="r">
              <a:lnSpc>
                <a:spcPct val="100000"/>
              </a:lnSpc>
              <a:spcAft>
                <a:spcPts val="0"/>
              </a:spcAft>
              <a:defRPr sz="6000">
                <a:solidFill>
                  <a:srgbClr val="FFFFFF"/>
                </a:solidFill>
                <a:latin typeface="+mj-lt"/>
              </a:defRPr>
            </a:lvl3pPr>
            <a:lvl4pPr algn="r">
              <a:lnSpc>
                <a:spcPct val="100000"/>
              </a:lnSpc>
              <a:spcAft>
                <a:spcPts val="0"/>
              </a:spcAft>
              <a:defRPr sz="6000">
                <a:solidFill>
                  <a:srgbClr val="FFFFFF"/>
                </a:solidFill>
                <a:latin typeface="+mj-lt"/>
              </a:defRPr>
            </a:lvl4pPr>
            <a:lvl5pPr algn="r">
              <a:lnSpc>
                <a:spcPct val="100000"/>
              </a:lnSpc>
              <a:spcAft>
                <a:spcPts val="0"/>
              </a:spcAft>
              <a:defRPr sz="6000">
                <a:solidFill>
                  <a:srgbClr val="FFFFFF"/>
                </a:solidFill>
                <a:latin typeface="+mj-l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6"/>
          <p:cNvSpPr>
            <a:spLocks noGrp="1"/>
          </p:cNvSpPr>
          <p:nvPr>
            <p:ph type="body" sz="quarter" idx="11"/>
          </p:nvPr>
        </p:nvSpPr>
        <p:spPr>
          <a:xfrm>
            <a:off x="1166400" y="2268000"/>
            <a:ext cx="4791600" cy="774000"/>
          </a:xfrm>
        </p:spPr>
        <p:txBody>
          <a:bodyPr/>
          <a:lstStyle>
            <a:lvl1pPr algn="r">
              <a:lnSpc>
                <a:spcPct val="100000"/>
              </a:lnSpc>
              <a:spcAft>
                <a:spcPts val="0"/>
              </a:spcAft>
              <a:defRPr sz="2500">
                <a:solidFill>
                  <a:srgbClr val="FFFFFF"/>
                </a:solidFill>
              </a:defRPr>
            </a:lvl1pPr>
            <a:lvl2pPr algn="r">
              <a:lnSpc>
                <a:spcPct val="100000"/>
              </a:lnSpc>
              <a:spcAft>
                <a:spcPts val="0"/>
              </a:spcAft>
              <a:defRPr sz="2500">
                <a:solidFill>
                  <a:srgbClr val="FFFFFF"/>
                </a:solidFill>
              </a:defRPr>
            </a:lvl2pPr>
            <a:lvl3pPr algn="r">
              <a:lnSpc>
                <a:spcPct val="100000"/>
              </a:lnSpc>
              <a:spcAft>
                <a:spcPts val="0"/>
              </a:spcAft>
              <a:defRPr sz="2500">
                <a:solidFill>
                  <a:srgbClr val="FFFFFF"/>
                </a:solidFill>
              </a:defRPr>
            </a:lvl3pPr>
            <a:lvl4pPr algn="r">
              <a:lnSpc>
                <a:spcPct val="100000"/>
              </a:lnSpc>
              <a:spcAft>
                <a:spcPts val="0"/>
              </a:spcAft>
              <a:defRPr sz="2500">
                <a:solidFill>
                  <a:srgbClr val="FFFFFF"/>
                </a:solidFill>
              </a:defRPr>
            </a:lvl4pPr>
            <a:lvl5pPr algn="r">
              <a:lnSpc>
                <a:spcPct val="100000"/>
              </a:lnSpc>
              <a:spcAft>
                <a:spcPts val="0"/>
              </a:spcAft>
              <a:defRPr sz="2500">
                <a:solidFill>
                  <a:srgbClr val="FFFFFF"/>
                </a:solidFill>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66327617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image">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115002926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10" name="Objekt 9" hidden="1"/>
                      <p:cNvPicPr/>
                      <p:nvPr/>
                    </p:nvPicPr>
                    <p:blipFill>
                      <a:blip r:embed="rId4"/>
                      <a:stretch>
                        <a:fillRect/>
                      </a:stretch>
                    </p:blipFill>
                    <p:spPr>
                      <a:xfrm>
                        <a:off x="1589" y="1589"/>
                        <a:ext cx="1587" cy="1587"/>
                      </a:xfrm>
                      <a:prstGeom prst="rect">
                        <a:avLst/>
                      </a:prstGeom>
                    </p:spPr>
                  </p:pic>
                </p:oleObj>
              </mc:Fallback>
            </mc:AlternateContent>
          </a:graphicData>
        </a:graphic>
      </p:graphicFrame>
      <p:grpSp>
        <p:nvGrpSpPr>
          <p:cNvPr id="6" name="Gruppieren 5"/>
          <p:cNvGrpSpPr/>
          <p:nvPr userDrawn="1"/>
        </p:nvGrpSpPr>
        <p:grpSpPr>
          <a:xfrm>
            <a:off x="0" y="0"/>
            <a:ext cx="9144000" cy="5144400"/>
            <a:chOff x="0" y="0"/>
            <a:chExt cx="9144000" cy="5144400"/>
          </a:xfrm>
        </p:grpSpPr>
        <p:sp>
          <p:nvSpPr>
            <p:cNvPr id="7" name="Rechteck 6"/>
            <p:cNvSpPr/>
            <p:nvPr userDrawn="1"/>
          </p:nvSpPr>
          <p:spPr>
            <a:xfrm>
              <a:off x="8920800" y="0"/>
              <a:ext cx="223200" cy="5144400"/>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8" name="Rechteck 7"/>
            <p:cNvSpPr/>
            <p:nvPr userDrawn="1"/>
          </p:nvSpPr>
          <p:spPr>
            <a:xfrm>
              <a:off x="6649200" y="0"/>
              <a:ext cx="2271600" cy="5144400"/>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sp>
          <p:nvSpPr>
            <p:cNvPr id="9" name="Rechteck 8"/>
            <p:cNvSpPr/>
            <p:nvPr userDrawn="1"/>
          </p:nvSpPr>
          <p:spPr>
            <a:xfrm>
              <a:off x="0" y="0"/>
              <a:ext cx="601200" cy="5144400"/>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67"/>
            </a:p>
          </p:txBody>
        </p:sp>
      </p:grpSp>
      <p:pic>
        <p:nvPicPr>
          <p:cNvPr id="11" name="Grafik 10"/>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590402" y="-1"/>
            <a:ext cx="6058455" cy="5144400"/>
          </a:xfrm>
          <a:prstGeom prst="rect">
            <a:avLst/>
          </a:prstGeom>
        </p:spPr>
      </p:pic>
      <p:sp>
        <p:nvSpPr>
          <p:cNvPr id="2" name="Titel 1"/>
          <p:cNvSpPr>
            <a:spLocks noGrp="1"/>
          </p:cNvSpPr>
          <p:nvPr>
            <p:ph type="ctrTitle"/>
          </p:nvPr>
        </p:nvSpPr>
        <p:spPr>
          <a:xfrm>
            <a:off x="979200" y="1573200"/>
            <a:ext cx="5295600" cy="1224000"/>
          </a:xfrm>
        </p:spPr>
        <p:txBody>
          <a:bodyPr anchor="b" anchorCtr="0">
            <a:noAutofit/>
          </a:bodyPr>
          <a:lstStyle>
            <a:lvl1pPr algn="r">
              <a:lnSpc>
                <a:spcPts val="4600"/>
              </a:lnSpc>
              <a:defRPr sz="4600" kern="100" baseline="0"/>
            </a:lvl1pPr>
          </a:lstStyle>
          <a:p>
            <a:r>
              <a:rPr lang="de-DE"/>
              <a:t>Titelmasterformat durch Klicken bearbeiten</a:t>
            </a:r>
          </a:p>
        </p:txBody>
      </p:sp>
      <p:sp>
        <p:nvSpPr>
          <p:cNvPr id="3" name="Untertitel 2"/>
          <p:cNvSpPr>
            <a:spLocks noGrp="1"/>
          </p:cNvSpPr>
          <p:nvPr>
            <p:ph type="subTitle" idx="1"/>
          </p:nvPr>
        </p:nvSpPr>
        <p:spPr>
          <a:xfrm>
            <a:off x="979200" y="2901600"/>
            <a:ext cx="5295600" cy="543600"/>
          </a:xfrm>
        </p:spPr>
        <p:txBody>
          <a:bodyPr>
            <a:noAutofit/>
          </a:bodyPr>
          <a:lstStyle>
            <a:lvl1pPr marL="0" indent="0" algn="r">
              <a:lnSpc>
                <a:spcPct val="100000"/>
              </a:lnSpc>
              <a:spcAft>
                <a:spcPts val="600"/>
              </a:spcAft>
              <a:buNone/>
              <a:defRPr sz="1900" kern="100" baseline="0">
                <a:solidFill>
                  <a:srgbClr val="EA1C0A"/>
                </a:solidFill>
                <a:latin typeface="+mj-lt"/>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a:xfrm>
            <a:off x="4845600" y="522000"/>
            <a:ext cx="1440000" cy="144000"/>
          </a:xfrm>
        </p:spPr>
        <p:txBody>
          <a:bodyPr/>
          <a:lstStyle>
            <a:lvl1pPr algn="r">
              <a:defRPr>
                <a:solidFill>
                  <a:srgbClr val="FFFFFF"/>
                </a:solidFill>
              </a:defRPr>
            </a:lvl1pPr>
          </a:lstStyle>
          <a:p>
            <a:endParaRPr lang="de-DE"/>
          </a:p>
        </p:txBody>
      </p:sp>
      <p:pic>
        <p:nvPicPr>
          <p:cNvPr id="5" name="EON_Logo_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150803" y="3708000"/>
            <a:ext cx="2124877" cy="630000"/>
          </a:xfrm>
          <a:prstGeom prst="rect">
            <a:avLst/>
          </a:prstGeom>
        </p:spPr>
      </p:pic>
    </p:spTree>
    <p:extLst>
      <p:ext uri="{BB962C8B-B14F-4D97-AF65-F5344CB8AC3E}">
        <p14:creationId xmlns:p14="http://schemas.microsoft.com/office/powerpoint/2010/main" val="311843859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Content 1 colum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537636327"/>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7" name="Objekt 6" hidden="1"/>
                      <p:cNvPicPr/>
                      <p:nvPr/>
                    </p:nvPicPr>
                    <p:blipFill>
                      <a:blip r:embed="rId4"/>
                      <a:stretch>
                        <a:fillRect/>
                      </a:stretch>
                    </p:blipFill>
                    <p:spPr>
                      <a:xfrm>
                        <a:off x="1591"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93C795C4-4A26-412B-AA90-98E97FF83D41}" type="slidenum">
              <a:rPr lang="de-DE" smtClean="0"/>
              <a:t>‹Nr.›</a:t>
            </a:fld>
            <a:endParaRPr lang="de-DE"/>
          </a:p>
        </p:txBody>
      </p:sp>
    </p:spTree>
    <p:extLst>
      <p:ext uri="{BB962C8B-B14F-4D97-AF65-F5344CB8AC3E}">
        <p14:creationId xmlns:p14="http://schemas.microsoft.com/office/powerpoint/2010/main" val="4115258159"/>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Content 2 column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78000" y="1371600"/>
            <a:ext cx="4068000" cy="3049200"/>
          </a:xfrm>
        </p:spPr>
        <p:txBody>
          <a:bodyPr>
            <a:no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98000" y="1371600"/>
            <a:ext cx="4068000" cy="3049200"/>
          </a:xfrm>
        </p:spPr>
        <p:txBody>
          <a:bodyPr>
            <a:no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3C795C4-4A26-412B-AA90-98E97FF83D41}" type="slidenum">
              <a:rPr lang="de-DE" smtClean="0"/>
              <a:t>‹Nr.›</a:t>
            </a:fld>
            <a:endParaRPr lang="de-DE"/>
          </a:p>
        </p:txBody>
      </p:sp>
    </p:spTree>
    <p:extLst>
      <p:ext uri="{BB962C8B-B14F-4D97-AF65-F5344CB8AC3E}">
        <p14:creationId xmlns:p14="http://schemas.microsoft.com/office/powerpoint/2010/main" val="291877641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CF3759A-9339-48C9-8727-DAD049725F1B}"/>
              </a:ext>
            </a:extLst>
          </p:cNvPr>
          <p:cNvGraphicFramePr>
            <a:graphicFrameLocks noChangeAspect="1"/>
          </p:cNvGraphicFramePr>
          <p:nvPr userDrawn="1">
            <p:custDataLst>
              <p:tags r:id="rId1"/>
            </p:custDataLst>
            <p:extLst>
              <p:ext uri="{D42A27DB-BD31-4B8C-83A1-F6EECF244321}">
                <p14:modId xmlns:p14="http://schemas.microsoft.com/office/powerpoint/2010/main" val="1449442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9" name="Objekt 8" hidden="1">
                        <a:extLst>
                          <a:ext uri="{FF2B5EF4-FFF2-40B4-BE49-F238E27FC236}">
                            <a16:creationId xmlns:a16="http://schemas.microsoft.com/office/drawing/2014/main" id="{DCF3759A-9339-48C9-8727-DAD049725F1B}"/>
                          </a:ext>
                        </a:extLst>
                      </p:cNvPr>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78000" y="1371600"/>
            <a:ext cx="2628000" cy="3049200"/>
          </a:xfrm>
        </p:spPr>
        <p:txBody>
          <a:bodyPr>
            <a:noAutofit/>
          </a:bodyPr>
          <a:lstStyle>
            <a:lvl1pPr>
              <a:lnSpc>
                <a:spcPts val="1375"/>
              </a:lnSpc>
              <a:defRPr sz="1100"/>
            </a:lvl1pPr>
            <a:lvl2pPr>
              <a:lnSpc>
                <a:spcPts val="1375"/>
              </a:lnSpc>
              <a:defRPr sz="1100"/>
            </a:lvl2pPr>
            <a:lvl3pPr>
              <a:lnSpc>
                <a:spcPts val="1375"/>
              </a:lnSpc>
              <a:defRPr sz="1100"/>
            </a:lvl3pPr>
            <a:lvl4pPr>
              <a:lnSpc>
                <a:spcPts val="1375"/>
              </a:lnSpc>
              <a:defRPr sz="1100"/>
            </a:lvl4pPr>
            <a:lvl5pPr>
              <a:lnSpc>
                <a:spcPts val="1375"/>
              </a:lnSpc>
              <a:defRPr sz="11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3258000" y="1371600"/>
            <a:ext cx="2628000" cy="3049200"/>
          </a:xfrm>
        </p:spPr>
        <p:txBody>
          <a:bodyPr>
            <a:noAutofit/>
          </a:bodyPr>
          <a:lstStyle>
            <a:lvl1pPr>
              <a:lnSpc>
                <a:spcPts val="1375"/>
              </a:lnSpc>
              <a:defRPr sz="1100"/>
            </a:lvl1pPr>
            <a:lvl2pPr>
              <a:lnSpc>
                <a:spcPts val="1375"/>
              </a:lnSpc>
              <a:defRPr sz="1100"/>
            </a:lvl2pPr>
            <a:lvl3pPr>
              <a:lnSpc>
                <a:spcPts val="1375"/>
              </a:lnSpc>
              <a:defRPr sz="1100"/>
            </a:lvl3pPr>
            <a:lvl4pPr>
              <a:lnSpc>
                <a:spcPts val="1375"/>
              </a:lnSpc>
              <a:defRPr sz="1100"/>
            </a:lvl4pPr>
            <a:lvl5pPr>
              <a:lnSpc>
                <a:spcPts val="1375"/>
              </a:lnSpc>
              <a:defRPr sz="11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3C795C4-4A26-412B-AA90-98E97FF83D41}" type="slidenum">
              <a:rPr lang="de-DE" smtClean="0"/>
              <a:t>‹Nr.›</a:t>
            </a:fld>
            <a:endParaRPr lang="de-DE"/>
          </a:p>
        </p:txBody>
      </p:sp>
      <p:sp>
        <p:nvSpPr>
          <p:cNvPr id="8" name="Inhaltsplatzhalter 3"/>
          <p:cNvSpPr>
            <a:spLocks noGrp="1"/>
          </p:cNvSpPr>
          <p:nvPr>
            <p:ph sz="half" idx="13"/>
          </p:nvPr>
        </p:nvSpPr>
        <p:spPr>
          <a:xfrm>
            <a:off x="6141600" y="1371600"/>
            <a:ext cx="2628000" cy="3049200"/>
          </a:xfrm>
        </p:spPr>
        <p:txBody>
          <a:bodyPr>
            <a:noAutofit/>
          </a:bodyPr>
          <a:lstStyle>
            <a:lvl1pPr>
              <a:lnSpc>
                <a:spcPts val="1375"/>
              </a:lnSpc>
              <a:defRPr sz="1100"/>
            </a:lvl1pPr>
            <a:lvl2pPr>
              <a:lnSpc>
                <a:spcPts val="1375"/>
              </a:lnSpc>
              <a:defRPr sz="1100"/>
            </a:lvl2pPr>
            <a:lvl3pPr>
              <a:lnSpc>
                <a:spcPts val="1375"/>
              </a:lnSpc>
              <a:defRPr sz="1100"/>
            </a:lvl3pPr>
            <a:lvl4pPr>
              <a:lnSpc>
                <a:spcPts val="1375"/>
              </a:lnSpc>
              <a:defRPr sz="1100"/>
            </a:lvl4pPr>
            <a:lvl5pPr>
              <a:lnSpc>
                <a:spcPts val="1375"/>
              </a:lnSpc>
              <a:defRPr sz="1100"/>
            </a:lvl5pPr>
            <a:lvl6pPr>
              <a:defRPr sz="1800"/>
            </a:lvl6pPr>
            <a:lvl7pPr>
              <a:defRPr sz="1800"/>
            </a:lvl7pPr>
            <a:lvl8pPr>
              <a:defRPr sz="1800"/>
            </a:lvl8pPr>
            <a:lvl9pPr>
              <a:defRPr sz="18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488812918"/>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mall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377825" y="1371600"/>
            <a:ext cx="5508000" cy="33988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3C795C4-4A26-412B-AA90-98E97FF83D41}" type="slidenum">
              <a:rPr lang="de-DE" smtClean="0"/>
              <a:pPr/>
              <a:t>‹Nr.›</a:t>
            </a:fld>
            <a:endParaRPr lang="de-DE"/>
          </a:p>
        </p:txBody>
      </p:sp>
      <p:sp>
        <p:nvSpPr>
          <p:cNvPr id="9" name="Bildplatzhalter 8"/>
          <p:cNvSpPr>
            <a:spLocks noGrp="1"/>
          </p:cNvSpPr>
          <p:nvPr>
            <p:ph type="pic" sz="quarter" idx="13"/>
          </p:nvPr>
        </p:nvSpPr>
        <p:spPr>
          <a:xfrm>
            <a:off x="6138000" y="1371600"/>
            <a:ext cx="2628000" cy="2628000"/>
          </a:xfrm>
        </p:spPr>
        <p:txBody>
          <a:bodyPr/>
          <a:lstStyle/>
          <a:p>
            <a:endParaRPr lang="de-DE"/>
          </a:p>
        </p:txBody>
      </p:sp>
      <p:sp>
        <p:nvSpPr>
          <p:cNvPr id="8" name="Textplatzhalter 4"/>
          <p:cNvSpPr>
            <a:spLocks noGrp="1"/>
          </p:cNvSpPr>
          <p:nvPr>
            <p:ph type="body" sz="half" idx="3" hasCustomPrompt="1"/>
          </p:nvPr>
        </p:nvSpPr>
        <p:spPr>
          <a:xfrm>
            <a:off x="6138000" y="4060800"/>
            <a:ext cx="2628000" cy="360000"/>
          </a:xfrm>
        </p:spPr>
        <p:txBody>
          <a:bodyPr anchor="b" anchorCtr="0">
            <a:noAutofit/>
          </a:bodyPr>
          <a:lstStyle>
            <a:lvl1pPr>
              <a:defRPr sz="900">
                <a:solidFill>
                  <a:srgbClr val="B00402"/>
                </a:solidFill>
              </a:defRPr>
            </a:lvl1pPr>
            <a:lvl2pPr>
              <a:defRPr sz="900">
                <a:solidFill>
                  <a:srgbClr val="B00402"/>
                </a:solidFill>
              </a:defRPr>
            </a:lvl2pPr>
            <a:lvl3pPr>
              <a:defRPr sz="900">
                <a:solidFill>
                  <a:srgbClr val="B00402"/>
                </a:solidFill>
              </a:defRPr>
            </a:lvl3pPr>
            <a:lvl4pPr>
              <a:defRPr sz="900">
                <a:solidFill>
                  <a:srgbClr val="B00402"/>
                </a:solidFill>
              </a:defRPr>
            </a:lvl4pPr>
            <a:lvl5pPr>
              <a:defRPr sz="900">
                <a:solidFill>
                  <a:srgbClr val="B00402"/>
                </a:solidFill>
              </a:defRPr>
            </a:lvl5pPr>
          </a:lstStyle>
          <a:p>
            <a:pPr lvl="0"/>
            <a:r>
              <a:rPr lang="de-DE"/>
              <a:t>Additional </a:t>
            </a:r>
            <a:r>
              <a:rPr lang="de-DE" err="1"/>
              <a:t>information</a:t>
            </a:r>
            <a:endParaRPr lang="de-DE"/>
          </a:p>
        </p:txBody>
      </p:sp>
    </p:spTree>
    <p:extLst>
      <p:ext uri="{BB962C8B-B14F-4D97-AF65-F5344CB8AC3E}">
        <p14:creationId xmlns:p14="http://schemas.microsoft.com/office/powerpoint/2010/main" val="22224466"/>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medium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Inhaltsplatzhalter 3"/>
          <p:cNvSpPr>
            <a:spLocks noGrp="1"/>
          </p:cNvSpPr>
          <p:nvPr>
            <p:ph sz="half" idx="2"/>
          </p:nvPr>
        </p:nvSpPr>
        <p:spPr>
          <a:xfrm>
            <a:off x="6138000" y="1371600"/>
            <a:ext cx="2628000" cy="2628000"/>
          </a:xfrm>
        </p:spPr>
        <p:txBody>
          <a:bodyPr/>
          <a:lstStyle>
            <a:lvl1pPr>
              <a:lnSpc>
                <a:spcPts val="1375"/>
              </a:lnSpc>
              <a:defRPr sz="1100"/>
            </a:lvl1pPr>
            <a:lvl2pPr>
              <a:lnSpc>
                <a:spcPts val="1375"/>
              </a:lnSpc>
              <a:defRPr sz="1100"/>
            </a:lvl2pPr>
            <a:lvl3pPr>
              <a:lnSpc>
                <a:spcPts val="1375"/>
              </a:lnSpc>
              <a:defRPr sz="1100"/>
            </a:lvl3pPr>
            <a:lvl4pPr>
              <a:lnSpc>
                <a:spcPts val="1375"/>
              </a:lnSpc>
              <a:defRPr sz="1100"/>
            </a:lvl4pPr>
            <a:lvl5pPr>
              <a:lnSpc>
                <a:spcPts val="1375"/>
              </a:lnSpc>
              <a:defRPr sz="11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93C795C4-4A26-412B-AA90-98E97FF83D41}" type="slidenum">
              <a:rPr lang="de-DE" smtClean="0"/>
              <a:pPr/>
              <a:t>‹Nr.›</a:t>
            </a:fld>
            <a:endParaRPr lang="de-DE"/>
          </a:p>
        </p:txBody>
      </p:sp>
      <p:sp>
        <p:nvSpPr>
          <p:cNvPr id="9" name="Bildplatzhalter 8"/>
          <p:cNvSpPr>
            <a:spLocks noGrp="1"/>
          </p:cNvSpPr>
          <p:nvPr>
            <p:ph type="pic" sz="quarter" idx="13"/>
          </p:nvPr>
        </p:nvSpPr>
        <p:spPr>
          <a:xfrm>
            <a:off x="0" y="1371600"/>
            <a:ext cx="5886000" cy="3772800"/>
          </a:xfrm>
        </p:spPr>
        <p:txBody>
          <a:bodyPr/>
          <a:lstStyle/>
          <a:p>
            <a:endParaRPr lang="de-DE"/>
          </a:p>
        </p:txBody>
      </p:sp>
      <p:sp>
        <p:nvSpPr>
          <p:cNvPr id="8" name="Textplatzhalter 4"/>
          <p:cNvSpPr>
            <a:spLocks noGrp="1"/>
          </p:cNvSpPr>
          <p:nvPr>
            <p:ph type="body" sz="half" idx="3" hasCustomPrompt="1"/>
          </p:nvPr>
        </p:nvSpPr>
        <p:spPr>
          <a:xfrm>
            <a:off x="6138000" y="4060800"/>
            <a:ext cx="2628000" cy="360000"/>
          </a:xfrm>
        </p:spPr>
        <p:txBody>
          <a:bodyPr anchor="b" anchorCtr="0">
            <a:noAutofit/>
          </a:bodyPr>
          <a:lstStyle>
            <a:lvl1pPr>
              <a:defRPr sz="900">
                <a:solidFill>
                  <a:srgbClr val="B00402"/>
                </a:solidFill>
              </a:defRPr>
            </a:lvl1pPr>
            <a:lvl2pPr>
              <a:defRPr sz="900">
                <a:solidFill>
                  <a:srgbClr val="B00402"/>
                </a:solidFill>
              </a:defRPr>
            </a:lvl2pPr>
            <a:lvl3pPr>
              <a:defRPr sz="900">
                <a:solidFill>
                  <a:srgbClr val="B00402"/>
                </a:solidFill>
              </a:defRPr>
            </a:lvl3pPr>
            <a:lvl4pPr>
              <a:defRPr sz="900">
                <a:solidFill>
                  <a:srgbClr val="B00402"/>
                </a:solidFill>
              </a:defRPr>
            </a:lvl4pPr>
            <a:lvl5pPr>
              <a:defRPr sz="900">
                <a:solidFill>
                  <a:srgbClr val="B00402"/>
                </a:solidFill>
              </a:defRPr>
            </a:lvl5pPr>
          </a:lstStyle>
          <a:p>
            <a:pPr lvl="0"/>
            <a:r>
              <a:rPr lang="de-DE"/>
              <a:t>Additional </a:t>
            </a:r>
            <a:r>
              <a:rPr lang="de-DE" err="1"/>
              <a:t>information</a:t>
            </a:r>
            <a:endParaRPr lang="de-DE"/>
          </a:p>
        </p:txBody>
      </p:sp>
    </p:spTree>
    <p:extLst>
      <p:ext uri="{BB962C8B-B14F-4D97-AF65-F5344CB8AC3E}">
        <p14:creationId xmlns:p14="http://schemas.microsoft.com/office/powerpoint/2010/main" val="1416135253"/>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93C795C4-4A26-412B-AA90-98E97FF83D41}" type="slidenum">
              <a:rPr lang="de-DE" smtClean="0"/>
              <a:t>‹Nr.›</a:t>
            </a:fld>
            <a:endParaRPr lang="de-DE"/>
          </a:p>
        </p:txBody>
      </p:sp>
      <p:sp>
        <p:nvSpPr>
          <p:cNvPr id="9" name="Bildplatzhalter 8"/>
          <p:cNvSpPr>
            <a:spLocks noGrp="1"/>
          </p:cNvSpPr>
          <p:nvPr>
            <p:ph type="pic" sz="quarter" idx="13"/>
          </p:nvPr>
        </p:nvSpPr>
        <p:spPr>
          <a:xfrm>
            <a:off x="0" y="1371600"/>
            <a:ext cx="9144000" cy="3772800"/>
          </a:xfrm>
        </p:spPr>
        <p:txBody>
          <a:bodyPr/>
          <a:lstStyle/>
          <a:p>
            <a:endParaRPr lang="de-DE"/>
          </a:p>
        </p:txBody>
      </p:sp>
    </p:spTree>
    <p:extLst>
      <p:ext uri="{BB962C8B-B14F-4D97-AF65-F5344CB8AC3E}">
        <p14:creationId xmlns:p14="http://schemas.microsoft.com/office/powerpoint/2010/main" val="591896772"/>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6"/>
            </p:custDataLst>
            <p:extLst>
              <p:ext uri="{D42A27DB-BD31-4B8C-83A1-F6EECF244321}">
                <p14:modId xmlns:p14="http://schemas.microsoft.com/office/powerpoint/2010/main" val="3792580119"/>
              </p:ex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name="think-cell Folie" r:id="rId28" imgW="216" imgH="216" progId="TCLayout.ActiveDocument.1">
                  <p:embed/>
                </p:oleObj>
              </mc:Choice>
              <mc:Fallback>
                <p:oleObj name="think-cell Folie" r:id="rId28" imgW="216" imgH="216" progId="TCLayout.ActiveDocument.1">
                  <p:embed/>
                  <p:pic>
                    <p:nvPicPr>
                      <p:cNvPr id="7" name="Objekt 6" hidden="1"/>
                      <p:cNvPicPr/>
                      <p:nvPr/>
                    </p:nvPicPr>
                    <p:blipFill>
                      <a:blip r:embed="rId29"/>
                      <a:stretch>
                        <a:fillRect/>
                      </a:stretch>
                    </p:blipFill>
                    <p:spPr>
                      <a:xfrm>
                        <a:off x="1591" y="1589"/>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02A109-267C-46FF-9F3F-9A91476E16BF}"/>
              </a:ext>
            </a:extLst>
          </p:cNvPr>
          <p:cNvSpPr/>
          <p:nvPr userDrawn="1">
            <p:custDataLst>
              <p:tags r:id="rId27"/>
            </p:custDataLst>
          </p:nvPr>
        </p:nvSpPr>
        <p:spPr>
          <a:xfrm>
            <a:off x="0" y="0"/>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2400" b="0" i="0" baseline="0">
              <a:latin typeface="EON Brix Sans Black" panose="020B0A00000000000000" pitchFamily="34" charset="0"/>
              <a:ea typeface="+mj-ea"/>
              <a:cs typeface="+mj-cs"/>
              <a:sym typeface="EON Brix Sans Black" panose="020B0A00000000000000" pitchFamily="34" charset="0"/>
            </a:endParaRPr>
          </a:p>
        </p:txBody>
      </p:sp>
      <p:sp>
        <p:nvSpPr>
          <p:cNvPr id="2" name="Titelplatzhalter 1"/>
          <p:cNvSpPr>
            <a:spLocks noGrp="1"/>
          </p:cNvSpPr>
          <p:nvPr>
            <p:ph type="title"/>
          </p:nvPr>
        </p:nvSpPr>
        <p:spPr>
          <a:xfrm>
            <a:off x="378000" y="378000"/>
            <a:ext cx="5508000" cy="720000"/>
          </a:xfrm>
          <a:prstGeom prst="rect">
            <a:avLst/>
          </a:prstGeom>
        </p:spPr>
        <p:txBody>
          <a:bodyPr vert="horz" lIns="0" tIns="0" rIns="0" bIns="0" rtlCol="0" anchor="t" anchorCtr="0">
            <a:noAutofit/>
          </a:bodyPr>
          <a:lstStyle/>
          <a:p>
            <a:r>
              <a:rPr lang="de-DE"/>
              <a:t>Titelmasterformat durch Klicken bearbeiten</a:t>
            </a:r>
          </a:p>
        </p:txBody>
      </p:sp>
      <p:sp>
        <p:nvSpPr>
          <p:cNvPr id="3" name="Textplatzhalter 2"/>
          <p:cNvSpPr>
            <a:spLocks noGrp="1"/>
          </p:cNvSpPr>
          <p:nvPr>
            <p:ph type="body" idx="1"/>
          </p:nvPr>
        </p:nvSpPr>
        <p:spPr>
          <a:xfrm>
            <a:off x="378000" y="1371600"/>
            <a:ext cx="6948000" cy="33984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7736400" y="4662000"/>
            <a:ext cx="756000" cy="144000"/>
          </a:xfrm>
          <a:prstGeom prst="rect">
            <a:avLst/>
          </a:prstGeom>
        </p:spPr>
        <p:txBody>
          <a:bodyPr vert="horz" lIns="0" tIns="0" rIns="0" bIns="0" rtlCol="0" anchor="t" anchorCtr="0">
            <a:noAutofit/>
          </a:bodyPr>
          <a:lstStyle>
            <a:lvl1pPr algn="r">
              <a:lnSpc>
                <a:spcPts val="1125"/>
              </a:lnSpc>
              <a:defRPr sz="900">
                <a:solidFill>
                  <a:srgbClr val="000000"/>
                </a:solidFill>
              </a:defRPr>
            </a:lvl1pPr>
          </a:lstStyle>
          <a:p>
            <a:endParaRPr lang="de-DE"/>
          </a:p>
        </p:txBody>
      </p:sp>
      <p:sp>
        <p:nvSpPr>
          <p:cNvPr id="5" name="Fußzeilenplatzhalter 4"/>
          <p:cNvSpPr>
            <a:spLocks noGrp="1"/>
          </p:cNvSpPr>
          <p:nvPr>
            <p:ph type="ftr" sz="quarter" idx="3"/>
          </p:nvPr>
        </p:nvSpPr>
        <p:spPr>
          <a:xfrm>
            <a:off x="7020000" y="518400"/>
            <a:ext cx="1746000" cy="306000"/>
          </a:xfrm>
          <a:prstGeom prst="rect">
            <a:avLst/>
          </a:prstGeom>
        </p:spPr>
        <p:txBody>
          <a:bodyPr vert="horz" lIns="0" tIns="0" rIns="0" bIns="0" rtlCol="0" anchor="t" anchorCtr="0">
            <a:noAutofit/>
          </a:bodyPr>
          <a:lstStyle>
            <a:lvl1pPr algn="r">
              <a:lnSpc>
                <a:spcPts val="1125"/>
              </a:lnSpc>
              <a:defRPr sz="900">
                <a:solidFill>
                  <a:srgbClr val="000000"/>
                </a:solidFill>
                <a:latin typeface="+mj-lt"/>
              </a:defRPr>
            </a:lvl1pPr>
          </a:lstStyle>
          <a:p>
            <a:endParaRPr lang="de-DE"/>
          </a:p>
        </p:txBody>
      </p:sp>
      <p:sp>
        <p:nvSpPr>
          <p:cNvPr id="6" name="Foliennummernplatzhalter 5"/>
          <p:cNvSpPr>
            <a:spLocks noGrp="1"/>
          </p:cNvSpPr>
          <p:nvPr>
            <p:ph type="sldNum" sz="quarter" idx="4"/>
          </p:nvPr>
        </p:nvSpPr>
        <p:spPr>
          <a:xfrm>
            <a:off x="8492400" y="4662000"/>
            <a:ext cx="273600" cy="144000"/>
          </a:xfrm>
          <a:prstGeom prst="rect">
            <a:avLst/>
          </a:prstGeom>
        </p:spPr>
        <p:txBody>
          <a:bodyPr vert="horz" lIns="0" tIns="0" rIns="0" bIns="0" rtlCol="0" anchor="t" anchorCtr="0">
            <a:noAutofit/>
          </a:bodyPr>
          <a:lstStyle>
            <a:lvl1pPr algn="r">
              <a:lnSpc>
                <a:spcPts val="1125"/>
              </a:lnSpc>
              <a:defRPr sz="900">
                <a:solidFill>
                  <a:srgbClr val="000000"/>
                </a:solidFill>
                <a:latin typeface="+mn-lt"/>
              </a:defRPr>
            </a:lvl1pPr>
          </a:lstStyle>
          <a:p>
            <a:fld id="{93C795C4-4A26-412B-AA90-98E97FF83D41}" type="slidenum">
              <a:rPr lang="de-DE" smtClean="0"/>
              <a:pPr/>
              <a:t>‹Nr.›</a:t>
            </a:fld>
            <a:endParaRPr lang="de-DE"/>
          </a:p>
        </p:txBody>
      </p:sp>
    </p:spTree>
    <p:extLst>
      <p:ext uri="{BB962C8B-B14F-4D97-AF65-F5344CB8AC3E}">
        <p14:creationId xmlns:p14="http://schemas.microsoft.com/office/powerpoint/2010/main" val="175814893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 id="2147483703"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Lst>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hf sldNum="0" hdr="0" ftr="0" dt="0"/>
  <p:txStyles>
    <p:titleStyle>
      <a:lvl1pPr algn="l" defTabSz="914378" rtl="0" eaLnBrk="1" latinLnBrk="0" hangingPunct="1">
        <a:lnSpc>
          <a:spcPts val="2500"/>
        </a:lnSpc>
        <a:spcBef>
          <a:spcPct val="0"/>
        </a:spcBef>
        <a:buNone/>
        <a:defRPr sz="2400" kern="100" baseline="0">
          <a:solidFill>
            <a:srgbClr val="EA1C0A"/>
          </a:solidFill>
          <a:latin typeface="+mj-lt"/>
          <a:ea typeface="+mj-ea"/>
          <a:cs typeface="+mj-cs"/>
        </a:defRPr>
      </a:lvl1pPr>
    </p:titleStyle>
    <p:bodyStyle>
      <a:lvl1pPr marL="0" indent="0" algn="l" defTabSz="914378" rtl="0" eaLnBrk="1" latinLnBrk="0" hangingPunct="1">
        <a:lnSpc>
          <a:spcPts val="1750"/>
        </a:lnSpc>
        <a:spcBef>
          <a:spcPts val="0"/>
        </a:spcBef>
        <a:spcAft>
          <a:spcPts val="600"/>
        </a:spcAft>
        <a:buFont typeface="Arial" panose="020B0604020202020204" pitchFamily="34" charset="0"/>
        <a:buNone/>
        <a:defRPr sz="1400" kern="100" baseline="0">
          <a:solidFill>
            <a:schemeClr val="tx1"/>
          </a:solidFill>
          <a:latin typeface="+mn-lt"/>
          <a:ea typeface="+mn-ea"/>
          <a:cs typeface="+mn-cs"/>
        </a:defRPr>
      </a:lvl1pPr>
      <a:lvl2pPr marL="179384" indent="-179383" algn="l" defTabSz="914378" rtl="0" eaLnBrk="1" latinLnBrk="0" hangingPunct="1">
        <a:lnSpc>
          <a:spcPts val="1750"/>
        </a:lnSpc>
        <a:spcBef>
          <a:spcPts val="0"/>
        </a:spcBef>
        <a:spcAft>
          <a:spcPts val="600"/>
        </a:spcAft>
        <a:buClr>
          <a:srgbClr val="EA1C0A"/>
        </a:buClr>
        <a:buFont typeface="EON Brix Sans" panose="020B0500000000000000" pitchFamily="34" charset="0"/>
        <a:buChar char="•"/>
        <a:defRPr sz="1400" kern="100" baseline="0">
          <a:solidFill>
            <a:schemeClr val="tx1"/>
          </a:solidFill>
          <a:latin typeface="+mn-lt"/>
          <a:ea typeface="+mn-ea"/>
          <a:cs typeface="+mn-cs"/>
        </a:defRPr>
      </a:lvl2pPr>
      <a:lvl3pPr marL="358766" indent="-179384" algn="l" defTabSz="914378" rtl="0" eaLnBrk="1" latinLnBrk="0" hangingPunct="1">
        <a:lnSpc>
          <a:spcPts val="1750"/>
        </a:lnSpc>
        <a:spcBef>
          <a:spcPts val="0"/>
        </a:spcBef>
        <a:spcAft>
          <a:spcPts val="600"/>
        </a:spcAft>
        <a:buFont typeface="Arial" panose="020B0604020202020204" pitchFamily="34" charset="0"/>
        <a:buChar char="•"/>
        <a:defRPr sz="1400" kern="100" baseline="0">
          <a:solidFill>
            <a:schemeClr val="tx1"/>
          </a:solidFill>
          <a:latin typeface="+mn-lt"/>
          <a:ea typeface="+mn-ea"/>
          <a:cs typeface="+mn-cs"/>
        </a:defRPr>
      </a:lvl3pPr>
      <a:lvl4pPr marL="538150" indent="-179383" algn="l" defTabSz="914378" rtl="0" eaLnBrk="1" latinLnBrk="0" hangingPunct="1">
        <a:lnSpc>
          <a:spcPts val="1750"/>
        </a:lnSpc>
        <a:spcBef>
          <a:spcPts val="0"/>
        </a:spcBef>
        <a:spcAft>
          <a:spcPts val="600"/>
        </a:spcAft>
        <a:buFont typeface="Arial" panose="020B0604020202020204" pitchFamily="34" charset="0"/>
        <a:buChar char="–"/>
        <a:defRPr sz="1400" kern="100" baseline="0">
          <a:solidFill>
            <a:schemeClr val="tx1"/>
          </a:solidFill>
          <a:latin typeface="+mn-lt"/>
          <a:ea typeface="+mn-ea"/>
          <a:cs typeface="+mn-cs"/>
        </a:defRPr>
      </a:lvl4pPr>
      <a:lvl5pPr marL="717532" indent="-179384" algn="l" defTabSz="914378" rtl="0" eaLnBrk="1" latinLnBrk="0" hangingPunct="1">
        <a:lnSpc>
          <a:spcPts val="1750"/>
        </a:lnSpc>
        <a:spcBef>
          <a:spcPts val="0"/>
        </a:spcBef>
        <a:spcAft>
          <a:spcPts val="600"/>
        </a:spcAft>
        <a:buFont typeface="Symbol" panose="05050102010706020507" pitchFamily="18" charset="2"/>
        <a:buChar char="-"/>
        <a:defRPr sz="1400" kern="100" baseline="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400" kern="1200">
          <a:solidFill>
            <a:schemeClr val="tx1"/>
          </a:solidFill>
          <a:latin typeface="+mn-lt"/>
          <a:ea typeface="+mn-ea"/>
          <a:cs typeface="+mn-cs"/>
        </a:defRPr>
      </a:lvl1pPr>
      <a:lvl2pPr marL="457189" algn="l" defTabSz="914378" rtl="0" eaLnBrk="1" latinLnBrk="0" hangingPunct="1">
        <a:defRPr sz="1400" kern="1200">
          <a:solidFill>
            <a:schemeClr val="tx1"/>
          </a:solidFill>
          <a:latin typeface="+mn-lt"/>
          <a:ea typeface="+mn-ea"/>
          <a:cs typeface="+mn-cs"/>
        </a:defRPr>
      </a:lvl2pPr>
      <a:lvl3pPr marL="914378" algn="l" defTabSz="914378" rtl="0" eaLnBrk="1" latinLnBrk="0" hangingPunct="1">
        <a:defRPr sz="1400" kern="1200">
          <a:solidFill>
            <a:schemeClr val="tx1"/>
          </a:solidFill>
          <a:latin typeface="+mn-lt"/>
          <a:ea typeface="+mn-ea"/>
          <a:cs typeface="+mn-cs"/>
        </a:defRPr>
      </a:lvl3pPr>
      <a:lvl4pPr marL="1371566" algn="l" defTabSz="914378" rtl="0" eaLnBrk="1" latinLnBrk="0" hangingPunct="1">
        <a:defRPr sz="1400" kern="1200">
          <a:solidFill>
            <a:schemeClr val="tx1"/>
          </a:solidFill>
          <a:latin typeface="+mn-lt"/>
          <a:ea typeface="+mn-ea"/>
          <a:cs typeface="+mn-cs"/>
        </a:defRPr>
      </a:lvl4pPr>
      <a:lvl5pPr marL="1828754" algn="l" defTabSz="914378" rtl="0" eaLnBrk="1" latinLnBrk="0" hangingPunct="1">
        <a:defRPr sz="1400" kern="1200">
          <a:solidFill>
            <a:schemeClr val="tx1"/>
          </a:solidFill>
          <a:latin typeface="+mn-lt"/>
          <a:ea typeface="+mn-ea"/>
          <a:cs typeface="+mn-cs"/>
        </a:defRPr>
      </a:lvl5pPr>
      <a:lvl6pPr marL="2285943" algn="l" defTabSz="914378" rtl="0" eaLnBrk="1" latinLnBrk="0" hangingPunct="1">
        <a:defRPr sz="1400" kern="1200">
          <a:solidFill>
            <a:schemeClr val="tx1"/>
          </a:solidFill>
          <a:latin typeface="+mn-lt"/>
          <a:ea typeface="+mn-ea"/>
          <a:cs typeface="+mn-cs"/>
        </a:defRPr>
      </a:lvl6pPr>
      <a:lvl7pPr marL="2743132" algn="l" defTabSz="914378" rtl="0" eaLnBrk="1" latinLnBrk="0" hangingPunct="1">
        <a:defRPr sz="1400" kern="1200">
          <a:solidFill>
            <a:schemeClr val="tx1"/>
          </a:solidFill>
          <a:latin typeface="+mn-lt"/>
          <a:ea typeface="+mn-ea"/>
          <a:cs typeface="+mn-cs"/>
        </a:defRPr>
      </a:lvl7pPr>
      <a:lvl8pPr marL="3200320" algn="l" defTabSz="914378" rtl="0" eaLnBrk="1" latinLnBrk="0" hangingPunct="1">
        <a:defRPr sz="1400" kern="1200">
          <a:solidFill>
            <a:schemeClr val="tx1"/>
          </a:solidFill>
          <a:latin typeface="+mn-lt"/>
          <a:ea typeface="+mn-ea"/>
          <a:cs typeface="+mn-cs"/>
        </a:defRPr>
      </a:lvl8pPr>
      <a:lvl9pPr marL="3657509" algn="l" defTabSz="914378"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12.xml"/><Relationship Id="rId6" Type="http://schemas.openxmlformats.org/officeDocument/2006/relationships/image" Target="../media/image56.png"/><Relationship Id="rId11" Type="http://schemas.openxmlformats.org/officeDocument/2006/relationships/image" Target="../media/image60.svg"/><Relationship Id="rId5" Type="http://schemas.openxmlformats.org/officeDocument/2006/relationships/image" Target="../media/image55.png"/><Relationship Id="rId10" Type="http://schemas.openxmlformats.org/officeDocument/2006/relationships/image" Target="../media/image59.png"/><Relationship Id="rId4" Type="http://schemas.openxmlformats.org/officeDocument/2006/relationships/image" Target="../media/image54.png"/><Relationship Id="rId9" Type="http://schemas.openxmlformats.org/officeDocument/2006/relationships/image" Target="../media/image5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34.png"/><Relationship Id="rId5" Type="http://schemas.openxmlformats.org/officeDocument/2006/relationships/image" Target="../media/image63.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4.png"/><Relationship Id="rId7" Type="http://schemas.openxmlformats.org/officeDocument/2006/relationships/image" Target="../media/image67.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34.png"/><Relationship Id="rId9" Type="http://schemas.openxmlformats.org/officeDocument/2006/relationships/image" Target="../media/image69.png"/></Relationships>
</file>

<file path=ppt/slides/_rels/slide14.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34.png"/><Relationship Id="rId5" Type="http://schemas.openxmlformats.org/officeDocument/2006/relationships/image" Target="../media/image72.png"/><Relationship Id="rId4" Type="http://schemas.openxmlformats.org/officeDocument/2006/relationships/image" Target="../media/image64.png"/></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34.png"/><Relationship Id="rId5" Type="http://schemas.openxmlformats.org/officeDocument/2006/relationships/image" Target="../media/image75.png"/><Relationship Id="rId4" Type="http://schemas.openxmlformats.org/officeDocument/2006/relationships/image" Target="../media/image74.png"/></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4.png"/><Relationship Id="rId1" Type="http://schemas.openxmlformats.org/officeDocument/2006/relationships/slideLayout" Target="../slideLayouts/slideLayout12.xml"/><Relationship Id="rId5" Type="http://schemas.openxmlformats.org/officeDocument/2006/relationships/image" Target="../media/image76.jpeg"/><Relationship Id="rId4" Type="http://schemas.openxmlformats.org/officeDocument/2006/relationships/image" Target="../media/image72.png"/></Relationships>
</file>

<file path=ppt/slides/_rels/slide17.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0.png"/><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0.png"/></Relationships>
</file>

<file path=ppt/slides/_rels/slide18.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8.bin"/><Relationship Id="rId7" Type="http://schemas.openxmlformats.org/officeDocument/2006/relationships/image" Target="../media/image84.png"/><Relationship Id="rId2" Type="http://schemas.openxmlformats.org/officeDocument/2006/relationships/slideLayout" Target="../slideLayouts/slideLayout17.xml"/><Relationship Id="rId1" Type="http://schemas.openxmlformats.org/officeDocument/2006/relationships/tags" Target="../tags/tag12.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11.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0.jpeg"/><Relationship Id="rId5" Type="http://schemas.openxmlformats.org/officeDocument/2006/relationships/image" Target="../media/image9.jpeg"/><Relationship Id="rId10" Type="http://schemas.openxmlformats.org/officeDocument/2006/relationships/image" Target="../media/image13.png"/><Relationship Id="rId4" Type="http://schemas.openxmlformats.org/officeDocument/2006/relationships/notesSlide" Target="../notesSlides/notesSlide2.xml"/><Relationship Id="rId9" Type="http://schemas.openxmlformats.org/officeDocument/2006/relationships/image" Target="../media/image1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11.xml"/><Relationship Id="rId7" Type="http://schemas.openxmlformats.org/officeDocument/2006/relationships/image" Target="../media/image12.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1.emf"/><Relationship Id="rId11" Type="http://schemas.openxmlformats.org/officeDocument/2006/relationships/image" Target="../media/image17.png"/><Relationship Id="rId5" Type="http://schemas.openxmlformats.org/officeDocument/2006/relationships/oleObject" Target="../embeddings/oleObject7.bin"/><Relationship Id="rId10" Type="http://schemas.openxmlformats.org/officeDocument/2006/relationships/image" Target="../media/image16.jpeg"/><Relationship Id="rId4" Type="http://schemas.openxmlformats.org/officeDocument/2006/relationships/notesSlide" Target="../notesSlides/notesSlide3.xml"/><Relationship Id="rId9" Type="http://schemas.openxmlformats.org/officeDocument/2006/relationships/image" Target="../media/image15.jpe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image" Target="../media/image18.jpeg"/><Relationship Id="rId7" Type="http://schemas.openxmlformats.org/officeDocument/2006/relationships/image" Target="../media/image21.jpeg"/><Relationship Id="rId12" Type="http://schemas.openxmlformats.org/officeDocument/2006/relationships/image" Target="../media/image26.sv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20.jpeg"/><Relationship Id="rId11" Type="http://schemas.openxmlformats.org/officeDocument/2006/relationships/image" Target="../media/image25.png"/><Relationship Id="rId5" Type="http://schemas.openxmlformats.org/officeDocument/2006/relationships/image" Target="../media/image19.tiff"/><Relationship Id="rId10" Type="http://schemas.openxmlformats.org/officeDocument/2006/relationships/image" Target="../media/image24.png"/><Relationship Id="rId4" Type="http://schemas.openxmlformats.org/officeDocument/2006/relationships/image" Target="../media/image17.png"/><Relationship Id="rId9" Type="http://schemas.openxmlformats.org/officeDocument/2006/relationships/image" Target="../media/image23.png"/><Relationship Id="rId14" Type="http://schemas.openxmlformats.org/officeDocument/2006/relationships/image" Target="../media/image28.svg"/></Relationships>
</file>

<file path=ppt/slides/_rels/slide8.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jpe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6.xml"/><Relationship Id="rId16" Type="http://schemas.openxmlformats.org/officeDocument/2006/relationships/image" Target="../media/image48.png"/><Relationship Id="rId1" Type="http://schemas.openxmlformats.org/officeDocument/2006/relationships/slideLayout" Target="../slideLayouts/slideLayout11.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19" Type="http://schemas.openxmlformats.org/officeDocument/2006/relationships/image" Target="../media/image51.sv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91B783A-D612-AE40-9F25-201F7C5F63B1}"/>
              </a:ext>
            </a:extLst>
          </p:cNvPr>
          <p:cNvSpPr/>
          <p:nvPr/>
        </p:nvSpPr>
        <p:spPr>
          <a:xfrm>
            <a:off x="-1"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969E55C-BD35-6B40-A72A-81356F93CAAB}"/>
              </a:ext>
            </a:extLst>
          </p:cNvPr>
          <p:cNvSpPr/>
          <p:nvPr/>
        </p:nvSpPr>
        <p:spPr>
          <a:xfrm>
            <a:off x="7973999" y="0"/>
            <a:ext cx="1169999" cy="514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3EEC6D7-6EB1-7B4B-A9FF-A8B599AD2D31}"/>
              </a:ext>
            </a:extLst>
          </p:cNvPr>
          <p:cNvSpPr/>
          <p:nvPr/>
        </p:nvSpPr>
        <p:spPr>
          <a:xfrm>
            <a:off x="880611" y="0"/>
            <a:ext cx="446400" cy="514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object 5">
            <a:extLst>
              <a:ext uri="{FF2B5EF4-FFF2-40B4-BE49-F238E27FC236}">
                <a16:creationId xmlns:a16="http://schemas.microsoft.com/office/drawing/2014/main" id="{CAEF6CBD-A178-6D46-8BBB-52790870B985}"/>
              </a:ext>
            </a:extLst>
          </p:cNvPr>
          <p:cNvSpPr txBox="1"/>
          <p:nvPr/>
        </p:nvSpPr>
        <p:spPr>
          <a:xfrm>
            <a:off x="370684" y="1791471"/>
            <a:ext cx="8766002" cy="1378122"/>
          </a:xfrm>
          <a:prstGeom prst="rect">
            <a:avLst/>
          </a:prstGeom>
        </p:spPr>
        <p:txBody>
          <a:bodyPr vert="horz" wrap="square" lIns="0" tIns="115114" rIns="0" bIns="0" rtlCol="0" anchor="ctr">
            <a:spAutoFit/>
          </a:bodyPr>
          <a:lstStyle/>
          <a:p>
            <a:pPr marL="10860" marR="931768"/>
            <a:r>
              <a:rPr lang="de-DE" sz="4100" spc="-43">
                <a:solidFill>
                  <a:schemeClr val="bg1"/>
                </a:solidFill>
                <a:latin typeface="+mj-lt"/>
                <a:cs typeface="EONBrixSansBlack"/>
              </a:rPr>
              <a:t>Welcome </a:t>
            </a:r>
          </a:p>
          <a:p>
            <a:pPr marL="10860" marR="931768"/>
            <a:r>
              <a:rPr lang="de-DE" sz="4100" spc="-43">
                <a:solidFill>
                  <a:schemeClr val="bg1"/>
                </a:solidFill>
                <a:latin typeface="+mj-lt"/>
                <a:cs typeface="EONBrixSansBlack"/>
              </a:rPr>
              <a:t>Who is Romina? </a:t>
            </a:r>
          </a:p>
        </p:txBody>
      </p:sp>
    </p:spTree>
    <p:extLst>
      <p:ext uri="{BB962C8B-B14F-4D97-AF65-F5344CB8AC3E}">
        <p14:creationId xmlns:p14="http://schemas.microsoft.com/office/powerpoint/2010/main" val="299454938"/>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5166884-3C15-9D68-AF27-517415980AC6}"/>
              </a:ext>
            </a:extLst>
          </p:cNvPr>
          <p:cNvGrpSpPr/>
          <p:nvPr/>
        </p:nvGrpSpPr>
        <p:grpSpPr>
          <a:xfrm>
            <a:off x="2962152" y="1749746"/>
            <a:ext cx="1857850" cy="1504537"/>
            <a:chOff x="6300430" y="2842612"/>
            <a:chExt cx="2592462" cy="2068004"/>
          </a:xfrm>
        </p:grpSpPr>
        <p:pic>
          <p:nvPicPr>
            <p:cNvPr id="3" name="Picture 2" descr="Graphical user interface, website&#10;&#10;Description automatically generated">
              <a:extLst>
                <a:ext uri="{FF2B5EF4-FFF2-40B4-BE49-F238E27FC236}">
                  <a16:creationId xmlns:a16="http://schemas.microsoft.com/office/drawing/2014/main" id="{84BF43EF-E67E-EABF-1906-E437BB0F8D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00430" y="3077994"/>
              <a:ext cx="2592462" cy="1832622"/>
            </a:xfrm>
            <a:prstGeom prst="rect">
              <a:avLst/>
            </a:prstGeom>
          </p:spPr>
        </p:pic>
        <p:pic>
          <p:nvPicPr>
            <p:cNvPr id="4" name="Picture 3" descr="A picture containing silhouette, night sky&#10;&#10;Description automatically generated">
              <a:extLst>
                <a:ext uri="{FF2B5EF4-FFF2-40B4-BE49-F238E27FC236}">
                  <a16:creationId xmlns:a16="http://schemas.microsoft.com/office/drawing/2014/main" id="{09127A92-6239-0A40-1488-683812054E0F}"/>
                </a:ext>
              </a:extLst>
            </p:cNvPr>
            <p:cNvPicPr>
              <a:picLocks noChangeAspect="1"/>
            </p:cNvPicPr>
            <p:nvPr/>
          </p:nvPicPr>
          <p:blipFill rotWithShape="1">
            <a:blip r:embed="rId3">
              <a:extLst>
                <a:ext uri="{28A0092B-C50C-407E-A947-70E740481C1C}">
                  <a14:useLocalDpi xmlns:a14="http://schemas.microsoft.com/office/drawing/2010/main" val="0"/>
                </a:ext>
              </a:extLst>
            </a:blip>
            <a:srcRect l="41740" t="37977" r="42193" b="36087"/>
            <a:stretch/>
          </p:blipFill>
          <p:spPr>
            <a:xfrm>
              <a:off x="7462441" y="2842612"/>
              <a:ext cx="343212" cy="553997"/>
            </a:xfrm>
            <a:prstGeom prst="rect">
              <a:avLst/>
            </a:prstGeom>
          </p:spPr>
        </p:pic>
      </p:grpSp>
      <p:pic>
        <p:nvPicPr>
          <p:cNvPr id="5" name="Picture 4">
            <a:extLst>
              <a:ext uri="{FF2B5EF4-FFF2-40B4-BE49-F238E27FC236}">
                <a16:creationId xmlns:a16="http://schemas.microsoft.com/office/drawing/2014/main" id="{6B76BB2B-703C-5374-FF7F-867664AEF4A2}"/>
              </a:ext>
            </a:extLst>
          </p:cNvPr>
          <p:cNvPicPr>
            <a:picLocks noChangeAspect="1"/>
          </p:cNvPicPr>
          <p:nvPr/>
        </p:nvPicPr>
        <p:blipFill>
          <a:blip r:embed="rId4"/>
          <a:stretch>
            <a:fillRect/>
          </a:stretch>
        </p:blipFill>
        <p:spPr>
          <a:xfrm>
            <a:off x="5543244" y="2084311"/>
            <a:ext cx="1857850" cy="1043587"/>
          </a:xfrm>
          <a:prstGeom prst="rect">
            <a:avLst/>
          </a:prstGeom>
        </p:spPr>
      </p:pic>
      <p:pic>
        <p:nvPicPr>
          <p:cNvPr id="7" name="Picture 6">
            <a:extLst>
              <a:ext uri="{FF2B5EF4-FFF2-40B4-BE49-F238E27FC236}">
                <a16:creationId xmlns:a16="http://schemas.microsoft.com/office/drawing/2014/main" id="{593DE4B7-C184-3FDC-150B-757A1A69A231}"/>
              </a:ext>
            </a:extLst>
          </p:cNvPr>
          <p:cNvPicPr>
            <a:picLocks noChangeAspect="1"/>
          </p:cNvPicPr>
          <p:nvPr/>
        </p:nvPicPr>
        <p:blipFill>
          <a:blip r:embed="rId5"/>
          <a:stretch>
            <a:fillRect/>
          </a:stretch>
        </p:blipFill>
        <p:spPr>
          <a:xfrm>
            <a:off x="7012864" y="3890524"/>
            <a:ext cx="1445574" cy="813058"/>
          </a:xfrm>
          <a:prstGeom prst="rect">
            <a:avLst/>
          </a:prstGeom>
        </p:spPr>
      </p:pic>
      <p:pic>
        <p:nvPicPr>
          <p:cNvPr id="6" name="Picture 5">
            <a:extLst>
              <a:ext uri="{FF2B5EF4-FFF2-40B4-BE49-F238E27FC236}">
                <a16:creationId xmlns:a16="http://schemas.microsoft.com/office/drawing/2014/main" id="{E5A989FA-72D6-8BBE-0958-EE2835B7EBAB}"/>
              </a:ext>
            </a:extLst>
          </p:cNvPr>
          <p:cNvPicPr>
            <a:picLocks noChangeAspect="1"/>
          </p:cNvPicPr>
          <p:nvPr/>
        </p:nvPicPr>
        <p:blipFill>
          <a:blip r:embed="rId6"/>
          <a:stretch>
            <a:fillRect/>
          </a:stretch>
        </p:blipFill>
        <p:spPr>
          <a:xfrm>
            <a:off x="6273387" y="3038814"/>
            <a:ext cx="1708294" cy="964803"/>
          </a:xfrm>
          <a:prstGeom prst="rect">
            <a:avLst/>
          </a:prstGeom>
        </p:spPr>
      </p:pic>
      <p:grpSp>
        <p:nvGrpSpPr>
          <p:cNvPr id="13" name="Group 12">
            <a:extLst>
              <a:ext uri="{FF2B5EF4-FFF2-40B4-BE49-F238E27FC236}">
                <a16:creationId xmlns:a16="http://schemas.microsoft.com/office/drawing/2014/main" id="{AB005E33-EB3D-F493-8ABF-2BC45EF83010}"/>
              </a:ext>
            </a:extLst>
          </p:cNvPr>
          <p:cNvGrpSpPr/>
          <p:nvPr/>
        </p:nvGrpSpPr>
        <p:grpSpPr>
          <a:xfrm>
            <a:off x="6273387" y="1057743"/>
            <a:ext cx="2496992" cy="1076436"/>
            <a:chOff x="303854" y="3499906"/>
            <a:chExt cx="2496992" cy="1076436"/>
          </a:xfrm>
        </p:grpSpPr>
        <p:pic>
          <p:nvPicPr>
            <p:cNvPr id="8" name="Picture 17" descr="Graphical user interface, text, application, email&#10;&#10;Description automatically generated">
              <a:extLst>
                <a:ext uri="{FF2B5EF4-FFF2-40B4-BE49-F238E27FC236}">
                  <a16:creationId xmlns:a16="http://schemas.microsoft.com/office/drawing/2014/main" id="{E4294FB0-AA7B-E1EF-3518-B73EEBE0FE9B}"/>
                </a:ext>
              </a:extLst>
            </p:cNvPr>
            <p:cNvPicPr>
              <a:picLocks noChangeAspect="1"/>
            </p:cNvPicPr>
            <p:nvPr/>
          </p:nvPicPr>
          <p:blipFill>
            <a:blip r:embed="rId7"/>
            <a:stretch>
              <a:fillRect/>
            </a:stretch>
          </p:blipFill>
          <p:spPr>
            <a:xfrm>
              <a:off x="303854" y="4018161"/>
              <a:ext cx="1850949" cy="558181"/>
            </a:xfrm>
            <a:prstGeom prst="rect">
              <a:avLst/>
            </a:prstGeom>
          </p:spPr>
        </p:pic>
        <p:pic>
          <p:nvPicPr>
            <p:cNvPr id="9" name="Picture 8" descr="Graphical user interface, text, application, email&#10;&#10;Description automatically generated">
              <a:extLst>
                <a:ext uri="{FF2B5EF4-FFF2-40B4-BE49-F238E27FC236}">
                  <a16:creationId xmlns:a16="http://schemas.microsoft.com/office/drawing/2014/main" id="{629ACA4A-7117-368B-52CE-B5B11EC02F83}"/>
                </a:ext>
              </a:extLst>
            </p:cNvPr>
            <p:cNvPicPr>
              <a:picLocks noChangeAspect="1"/>
            </p:cNvPicPr>
            <p:nvPr/>
          </p:nvPicPr>
          <p:blipFill>
            <a:blip r:embed="rId7"/>
            <a:stretch>
              <a:fillRect/>
            </a:stretch>
          </p:blipFill>
          <p:spPr>
            <a:xfrm>
              <a:off x="502636" y="3847775"/>
              <a:ext cx="1850949" cy="558181"/>
            </a:xfrm>
            <a:prstGeom prst="rect">
              <a:avLst/>
            </a:prstGeom>
          </p:spPr>
        </p:pic>
        <p:pic>
          <p:nvPicPr>
            <p:cNvPr id="10" name="Picture 17" descr="Graphical user interface, text, application, email&#10;&#10;Description automatically generated">
              <a:extLst>
                <a:ext uri="{FF2B5EF4-FFF2-40B4-BE49-F238E27FC236}">
                  <a16:creationId xmlns:a16="http://schemas.microsoft.com/office/drawing/2014/main" id="{1500F2E0-65C4-FCCF-638B-7F5E02ECE5BA}"/>
                </a:ext>
              </a:extLst>
            </p:cNvPr>
            <p:cNvPicPr>
              <a:picLocks noChangeAspect="1"/>
            </p:cNvPicPr>
            <p:nvPr/>
          </p:nvPicPr>
          <p:blipFill>
            <a:blip r:embed="rId7"/>
            <a:stretch>
              <a:fillRect/>
            </a:stretch>
          </p:blipFill>
          <p:spPr>
            <a:xfrm>
              <a:off x="648173" y="3695139"/>
              <a:ext cx="1850949" cy="558181"/>
            </a:xfrm>
            <a:prstGeom prst="rect">
              <a:avLst/>
            </a:prstGeom>
          </p:spPr>
        </p:pic>
        <p:pic>
          <p:nvPicPr>
            <p:cNvPr id="11" name="Picture 17" descr="Graphical user interface, text, application, email&#10;&#10;Description automatically generated">
              <a:extLst>
                <a:ext uri="{FF2B5EF4-FFF2-40B4-BE49-F238E27FC236}">
                  <a16:creationId xmlns:a16="http://schemas.microsoft.com/office/drawing/2014/main" id="{4D355390-4978-DAED-8810-80D059B2444F}"/>
                </a:ext>
              </a:extLst>
            </p:cNvPr>
            <p:cNvPicPr>
              <a:picLocks noChangeAspect="1"/>
            </p:cNvPicPr>
            <p:nvPr/>
          </p:nvPicPr>
          <p:blipFill>
            <a:blip r:embed="rId7"/>
            <a:stretch>
              <a:fillRect/>
            </a:stretch>
          </p:blipFill>
          <p:spPr>
            <a:xfrm>
              <a:off x="790160" y="3592197"/>
              <a:ext cx="1850949" cy="558181"/>
            </a:xfrm>
            <a:prstGeom prst="rect">
              <a:avLst/>
            </a:prstGeom>
          </p:spPr>
        </p:pic>
        <p:pic>
          <p:nvPicPr>
            <p:cNvPr id="12" name="Picture 17" descr="Graphical user interface, text, application, email&#10;&#10;Description automatically generated">
              <a:extLst>
                <a:ext uri="{FF2B5EF4-FFF2-40B4-BE49-F238E27FC236}">
                  <a16:creationId xmlns:a16="http://schemas.microsoft.com/office/drawing/2014/main" id="{551B068C-5F55-A16F-2ACC-33EEF840024A}"/>
                </a:ext>
              </a:extLst>
            </p:cNvPr>
            <p:cNvPicPr>
              <a:picLocks noChangeAspect="1"/>
            </p:cNvPicPr>
            <p:nvPr/>
          </p:nvPicPr>
          <p:blipFill>
            <a:blip r:embed="rId7"/>
            <a:stretch>
              <a:fillRect/>
            </a:stretch>
          </p:blipFill>
          <p:spPr>
            <a:xfrm>
              <a:off x="949897" y="3499906"/>
              <a:ext cx="1850949" cy="558181"/>
            </a:xfrm>
            <a:prstGeom prst="rect">
              <a:avLst/>
            </a:prstGeom>
          </p:spPr>
        </p:pic>
      </p:grpSp>
      <p:grpSp>
        <p:nvGrpSpPr>
          <p:cNvPr id="14" name="Group 13">
            <a:extLst>
              <a:ext uri="{FF2B5EF4-FFF2-40B4-BE49-F238E27FC236}">
                <a16:creationId xmlns:a16="http://schemas.microsoft.com/office/drawing/2014/main" id="{CC3D5243-A87F-B7DF-C901-27D7498BC83D}"/>
              </a:ext>
            </a:extLst>
          </p:cNvPr>
          <p:cNvGrpSpPr/>
          <p:nvPr/>
        </p:nvGrpSpPr>
        <p:grpSpPr>
          <a:xfrm>
            <a:off x="229479" y="1150034"/>
            <a:ext cx="2185462" cy="2164976"/>
            <a:chOff x="3562352" y="2733444"/>
            <a:chExt cx="2185462" cy="2164976"/>
          </a:xfrm>
        </p:grpSpPr>
        <p:pic>
          <p:nvPicPr>
            <p:cNvPr id="15" name="Picture 14">
              <a:extLst>
                <a:ext uri="{FF2B5EF4-FFF2-40B4-BE49-F238E27FC236}">
                  <a16:creationId xmlns:a16="http://schemas.microsoft.com/office/drawing/2014/main" id="{FB05BA2D-FFA3-7EDC-FDCD-2D871827E548}"/>
                </a:ext>
              </a:extLst>
            </p:cNvPr>
            <p:cNvPicPr>
              <a:picLocks noChangeAspect="1"/>
            </p:cNvPicPr>
            <p:nvPr/>
          </p:nvPicPr>
          <p:blipFill>
            <a:blip r:embed="rId8"/>
            <a:stretch>
              <a:fillRect/>
            </a:stretch>
          </p:blipFill>
          <p:spPr>
            <a:xfrm>
              <a:off x="3949278" y="3132002"/>
              <a:ext cx="1253065" cy="1766418"/>
            </a:xfrm>
            <a:prstGeom prst="rect">
              <a:avLst/>
            </a:prstGeom>
            <a:ln>
              <a:solidFill>
                <a:schemeClr val="tx1"/>
              </a:solidFill>
            </a:ln>
          </p:spPr>
        </p:pic>
        <p:sp>
          <p:nvSpPr>
            <p:cNvPr id="16" name="TextBox 30">
              <a:extLst>
                <a:ext uri="{FF2B5EF4-FFF2-40B4-BE49-F238E27FC236}">
                  <a16:creationId xmlns:a16="http://schemas.microsoft.com/office/drawing/2014/main" id="{0C5B8984-B866-D231-AC2C-F522FC4673A5}"/>
                </a:ext>
              </a:extLst>
            </p:cNvPr>
            <p:cNvSpPr txBox="1"/>
            <p:nvPr/>
          </p:nvSpPr>
          <p:spPr>
            <a:xfrm rot="21379281">
              <a:off x="3562352" y="2733444"/>
              <a:ext cx="2185462" cy="492443"/>
            </a:xfrm>
            <a:prstGeom prst="rect">
              <a:avLst/>
            </a:prstGeom>
            <a:solidFill>
              <a:schemeClr val="bg1"/>
            </a:solidFill>
          </p:spPr>
          <p:txBody>
            <a:bodyPr wrap="square" lIns="0" tIns="0" rIns="0" bIns="0" rtlCol="0" anchor="t">
              <a:spAutoFit/>
            </a:bodyPr>
            <a:lstStyle/>
            <a:p>
              <a:pPr marL="109088" lvl="1"/>
              <a:r>
                <a:rPr lang="en-US" sz="1600" b="1">
                  <a:solidFill>
                    <a:srgbClr val="5CC1CB"/>
                  </a:solidFill>
                  <a:latin typeface="EON Brix Sans 2"/>
                </a:rPr>
                <a:t>First Data Management </a:t>
              </a:r>
            </a:p>
            <a:p>
              <a:pPr marL="109088" lvl="1"/>
              <a:r>
                <a:rPr lang="en-US" sz="1600" b="1">
                  <a:solidFill>
                    <a:srgbClr val="5CC1CB"/>
                  </a:solidFill>
                  <a:latin typeface="EON Brix Sans 2"/>
                </a:rPr>
                <a:t>Event @E.ON - 2019</a:t>
              </a:r>
              <a:endParaRPr lang="en-US" sz="1600">
                <a:solidFill>
                  <a:srgbClr val="5CC1CB"/>
                </a:solidFill>
                <a:latin typeface="EON Brix Sans 2"/>
              </a:endParaRPr>
            </a:p>
          </p:txBody>
        </p:sp>
      </p:grpSp>
      <p:sp>
        <p:nvSpPr>
          <p:cNvPr id="20" name="TextBox 30">
            <a:extLst>
              <a:ext uri="{FF2B5EF4-FFF2-40B4-BE49-F238E27FC236}">
                <a16:creationId xmlns:a16="http://schemas.microsoft.com/office/drawing/2014/main" id="{4AC21A9F-E299-858F-D747-504B9E32F303}"/>
              </a:ext>
            </a:extLst>
          </p:cNvPr>
          <p:cNvSpPr txBox="1"/>
          <p:nvPr/>
        </p:nvSpPr>
        <p:spPr>
          <a:xfrm rot="21379281">
            <a:off x="2789142" y="1119326"/>
            <a:ext cx="2185462" cy="492443"/>
          </a:xfrm>
          <a:prstGeom prst="rect">
            <a:avLst/>
          </a:prstGeom>
          <a:solidFill>
            <a:schemeClr val="bg1"/>
          </a:solidFill>
        </p:spPr>
        <p:txBody>
          <a:bodyPr wrap="square" lIns="0" tIns="0" rIns="0" bIns="0" rtlCol="0" anchor="t">
            <a:spAutoFit/>
          </a:bodyPr>
          <a:lstStyle/>
          <a:p>
            <a:pPr marL="109088" lvl="1"/>
            <a:r>
              <a:rPr lang="en-US" sz="1600" b="1">
                <a:solidFill>
                  <a:srgbClr val="5CC1CB"/>
                </a:solidFill>
                <a:latin typeface="EON Brix Sans 2"/>
              </a:rPr>
              <a:t>2nd Data Management </a:t>
            </a:r>
          </a:p>
          <a:p>
            <a:pPr marL="109088" lvl="1"/>
            <a:r>
              <a:rPr lang="en-US" sz="1600" b="1">
                <a:solidFill>
                  <a:srgbClr val="5CC1CB"/>
                </a:solidFill>
                <a:latin typeface="EON Brix Sans 2"/>
              </a:rPr>
              <a:t>Event @E.ON - 2021</a:t>
            </a:r>
            <a:endParaRPr lang="en-US" sz="1600">
              <a:solidFill>
                <a:srgbClr val="5CC1CB"/>
              </a:solidFill>
              <a:latin typeface="EON Brix Sans 2"/>
            </a:endParaRPr>
          </a:p>
        </p:txBody>
      </p:sp>
      <p:sp>
        <p:nvSpPr>
          <p:cNvPr id="21" name="TextBox 30">
            <a:extLst>
              <a:ext uri="{FF2B5EF4-FFF2-40B4-BE49-F238E27FC236}">
                <a16:creationId xmlns:a16="http://schemas.microsoft.com/office/drawing/2014/main" id="{C3DC657E-24A1-3983-F9F8-7D96BA749138}"/>
              </a:ext>
            </a:extLst>
          </p:cNvPr>
          <p:cNvSpPr txBox="1"/>
          <p:nvPr/>
        </p:nvSpPr>
        <p:spPr>
          <a:xfrm rot="21379281">
            <a:off x="5335740" y="321057"/>
            <a:ext cx="2701685" cy="738664"/>
          </a:xfrm>
          <a:prstGeom prst="rect">
            <a:avLst/>
          </a:prstGeom>
          <a:solidFill>
            <a:schemeClr val="bg1"/>
          </a:solidFill>
        </p:spPr>
        <p:txBody>
          <a:bodyPr wrap="square" lIns="0" tIns="0" rIns="0" bIns="0" rtlCol="0" anchor="t">
            <a:spAutoFit/>
          </a:bodyPr>
          <a:lstStyle/>
          <a:p>
            <a:pPr marL="109088" lvl="1"/>
            <a:r>
              <a:rPr lang="en-US" sz="1600" b="1">
                <a:solidFill>
                  <a:srgbClr val="5CC1CB"/>
                </a:solidFill>
                <a:latin typeface="EON Brix Sans 2"/>
              </a:rPr>
              <a:t>3</a:t>
            </a:r>
            <a:r>
              <a:rPr lang="en-US" sz="1600" b="1" baseline="30000">
                <a:solidFill>
                  <a:srgbClr val="5CC1CB"/>
                </a:solidFill>
                <a:latin typeface="EON Brix Sans 2"/>
              </a:rPr>
              <a:t>rd</a:t>
            </a:r>
            <a:r>
              <a:rPr lang="en-US" sz="1600" b="1">
                <a:solidFill>
                  <a:srgbClr val="5CC1CB"/>
                </a:solidFill>
                <a:latin typeface="EON Brix Sans 2"/>
              </a:rPr>
              <a:t> annual Data Management </a:t>
            </a:r>
          </a:p>
          <a:p>
            <a:pPr marL="109088" lvl="1"/>
            <a:r>
              <a:rPr lang="en-US" sz="1600" b="1">
                <a:solidFill>
                  <a:srgbClr val="5CC1CB"/>
                </a:solidFill>
                <a:latin typeface="EON Brix Sans 2"/>
              </a:rPr>
              <a:t>Event @E.ON – 2022 and local DG weeks</a:t>
            </a:r>
            <a:endParaRPr lang="en-US" sz="1600">
              <a:solidFill>
                <a:srgbClr val="5CC1CB"/>
              </a:solidFill>
              <a:latin typeface="EON Brix Sans 2"/>
            </a:endParaRPr>
          </a:p>
        </p:txBody>
      </p:sp>
      <p:sp>
        <p:nvSpPr>
          <p:cNvPr id="22" name="TextBox 3">
            <a:extLst>
              <a:ext uri="{FF2B5EF4-FFF2-40B4-BE49-F238E27FC236}">
                <a16:creationId xmlns:a16="http://schemas.microsoft.com/office/drawing/2014/main" id="{5CD47F29-FED4-70EB-DC8F-E2AC9315338E}"/>
              </a:ext>
            </a:extLst>
          </p:cNvPr>
          <p:cNvSpPr txBox="1"/>
          <p:nvPr/>
        </p:nvSpPr>
        <p:spPr>
          <a:xfrm>
            <a:off x="636243" y="310775"/>
            <a:ext cx="5285627" cy="553998"/>
          </a:xfrm>
          <a:prstGeom prst="rect">
            <a:avLst/>
          </a:prstGeom>
        </p:spPr>
        <p:txBody>
          <a:bodyPr lIns="0" tIns="0" rIns="0" bIns="0" rtlCol="0" anchor="t">
            <a:spAutoFit/>
          </a:bodyPr>
          <a:lstStyle/>
          <a:p>
            <a:pPr lvl="0"/>
            <a:r>
              <a:rPr lang="en-US" sz="3600">
                <a:solidFill>
                  <a:srgbClr val="FF0000"/>
                </a:solidFill>
                <a:latin typeface="+mj-lt"/>
              </a:rPr>
              <a:t>DG Evangelization</a:t>
            </a:r>
          </a:p>
        </p:txBody>
      </p:sp>
      <p:sp>
        <p:nvSpPr>
          <p:cNvPr id="24" name="Rectangular Callout 23">
            <a:extLst>
              <a:ext uri="{FF2B5EF4-FFF2-40B4-BE49-F238E27FC236}">
                <a16:creationId xmlns:a16="http://schemas.microsoft.com/office/drawing/2014/main" id="{C2330403-69DC-F653-9D9F-19E9475CED71}"/>
              </a:ext>
            </a:extLst>
          </p:cNvPr>
          <p:cNvSpPr/>
          <p:nvPr/>
        </p:nvSpPr>
        <p:spPr>
          <a:xfrm>
            <a:off x="914399" y="3890524"/>
            <a:ext cx="874643" cy="689427"/>
          </a:xfrm>
          <a:prstGeom prst="wedgeRectCallout">
            <a:avLst>
              <a:gd name="adj1" fmla="val 3757"/>
              <a:gd name="adj2" fmla="val -1457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400" b="1"/>
              <a:t>40+</a:t>
            </a:r>
            <a:r>
              <a:rPr lang="en-DE"/>
              <a:t> </a:t>
            </a:r>
            <a:r>
              <a:rPr lang="en-DE" sz="1000"/>
              <a:t>participants</a:t>
            </a:r>
            <a:endParaRPr lang="en-DE"/>
          </a:p>
        </p:txBody>
      </p:sp>
      <p:sp>
        <p:nvSpPr>
          <p:cNvPr id="25" name="Rectangular Callout 24">
            <a:extLst>
              <a:ext uri="{FF2B5EF4-FFF2-40B4-BE49-F238E27FC236}">
                <a16:creationId xmlns:a16="http://schemas.microsoft.com/office/drawing/2014/main" id="{61E995EB-6499-85D1-A84F-745373C59431}"/>
              </a:ext>
            </a:extLst>
          </p:cNvPr>
          <p:cNvSpPr/>
          <p:nvPr/>
        </p:nvSpPr>
        <p:spPr>
          <a:xfrm>
            <a:off x="3279056" y="3878732"/>
            <a:ext cx="874643" cy="689427"/>
          </a:xfrm>
          <a:prstGeom prst="wedgeRectCallout">
            <a:avLst>
              <a:gd name="adj1" fmla="val 3757"/>
              <a:gd name="adj2" fmla="val -14570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400" b="1"/>
              <a:t>200+ </a:t>
            </a:r>
            <a:r>
              <a:rPr lang="en-DE" sz="1000"/>
              <a:t>participants</a:t>
            </a:r>
            <a:endParaRPr lang="en-DE"/>
          </a:p>
        </p:txBody>
      </p:sp>
      <p:sp>
        <p:nvSpPr>
          <p:cNvPr id="26" name="Rectangular Callout 25">
            <a:extLst>
              <a:ext uri="{FF2B5EF4-FFF2-40B4-BE49-F238E27FC236}">
                <a16:creationId xmlns:a16="http://schemas.microsoft.com/office/drawing/2014/main" id="{C116692D-377C-DB52-E284-045CB615E210}"/>
              </a:ext>
            </a:extLst>
          </p:cNvPr>
          <p:cNvSpPr/>
          <p:nvPr/>
        </p:nvSpPr>
        <p:spPr>
          <a:xfrm>
            <a:off x="5206391" y="4169693"/>
            <a:ext cx="1066996" cy="689427"/>
          </a:xfrm>
          <a:prstGeom prst="wedgeRectCallout">
            <a:avLst>
              <a:gd name="adj1" fmla="val 42848"/>
              <a:gd name="adj2" fmla="val -130715"/>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DE" sz="2400" b="1"/>
              <a:t>1000+ </a:t>
            </a:r>
            <a:r>
              <a:rPr lang="en-DE" sz="1000"/>
              <a:t>participants</a:t>
            </a:r>
            <a:endParaRPr lang="en-DE"/>
          </a:p>
        </p:txBody>
      </p:sp>
      <p:grpSp>
        <p:nvGrpSpPr>
          <p:cNvPr id="27" name="Gruppieren 2">
            <a:extLst>
              <a:ext uri="{FF2B5EF4-FFF2-40B4-BE49-F238E27FC236}">
                <a16:creationId xmlns:a16="http://schemas.microsoft.com/office/drawing/2014/main" id="{60963853-C91B-268F-1394-0E48453942A8}"/>
              </a:ext>
            </a:extLst>
          </p:cNvPr>
          <p:cNvGrpSpPr/>
          <p:nvPr/>
        </p:nvGrpSpPr>
        <p:grpSpPr>
          <a:xfrm>
            <a:off x="7593717" y="1484156"/>
            <a:ext cx="1401513" cy="1528196"/>
            <a:chOff x="4596371" y="563703"/>
            <a:chExt cx="3576402" cy="3899674"/>
          </a:xfrm>
        </p:grpSpPr>
        <p:pic>
          <p:nvPicPr>
            <p:cNvPr id="28" name="Grafik 9">
              <a:extLst>
                <a:ext uri="{FF2B5EF4-FFF2-40B4-BE49-F238E27FC236}">
                  <a16:creationId xmlns:a16="http://schemas.microsoft.com/office/drawing/2014/main" id="{77F6558B-F886-CB27-9A78-1422E00F2526}"/>
                </a:ext>
              </a:extLst>
            </p:cNvPr>
            <p:cNvPicPr>
              <a:picLocks noChangeAspect="1"/>
            </p:cNvPicPr>
            <p:nvPr/>
          </p:nvPicPr>
          <p:blipFill rotWithShape="1">
            <a:blip r:embed="rId9">
              <a:extLst>
                <a:ext uri="{28A0092B-C50C-407E-A947-70E740481C1C}">
                  <a14:useLocalDpi xmlns:a14="http://schemas.microsoft.com/office/drawing/2010/main" val="0"/>
                </a:ext>
              </a:extLst>
            </a:blip>
            <a:srcRect t="16454"/>
            <a:stretch/>
          </p:blipFill>
          <p:spPr>
            <a:xfrm>
              <a:off x="4596371" y="1475424"/>
              <a:ext cx="3576402" cy="2987953"/>
            </a:xfrm>
            <a:prstGeom prst="rect">
              <a:avLst/>
            </a:prstGeom>
          </p:spPr>
        </p:pic>
        <p:pic>
          <p:nvPicPr>
            <p:cNvPr id="29" name="Grafik 10">
              <a:extLst>
                <a:ext uri="{FF2B5EF4-FFF2-40B4-BE49-F238E27FC236}">
                  <a16:creationId xmlns:a16="http://schemas.microsoft.com/office/drawing/2014/main" id="{74DFCCFA-52CD-90B2-387A-4CC2738BAE9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613688" y="563703"/>
              <a:ext cx="1560611" cy="1560611"/>
            </a:xfrm>
            <a:prstGeom prst="rect">
              <a:avLst/>
            </a:prstGeom>
          </p:spPr>
        </p:pic>
      </p:grpSp>
    </p:spTree>
    <p:extLst>
      <p:ext uri="{BB962C8B-B14F-4D97-AF65-F5344CB8AC3E}">
        <p14:creationId xmlns:p14="http://schemas.microsoft.com/office/powerpoint/2010/main" val="3125849492"/>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91B783A-D612-AE40-9F25-201F7C5F63B1}"/>
              </a:ext>
            </a:extLst>
          </p:cNvPr>
          <p:cNvSpPr/>
          <p:nvPr/>
        </p:nvSpPr>
        <p:spPr>
          <a:xfrm>
            <a:off x="-1"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969E55C-BD35-6B40-A72A-81356F93CAAB}"/>
              </a:ext>
            </a:extLst>
          </p:cNvPr>
          <p:cNvSpPr/>
          <p:nvPr/>
        </p:nvSpPr>
        <p:spPr>
          <a:xfrm>
            <a:off x="7973999" y="0"/>
            <a:ext cx="1169999" cy="514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3EEC6D7-6EB1-7B4B-A9FF-A8B599AD2D31}"/>
              </a:ext>
            </a:extLst>
          </p:cNvPr>
          <p:cNvSpPr/>
          <p:nvPr/>
        </p:nvSpPr>
        <p:spPr>
          <a:xfrm>
            <a:off x="880611" y="0"/>
            <a:ext cx="446400" cy="514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object 5">
            <a:extLst>
              <a:ext uri="{FF2B5EF4-FFF2-40B4-BE49-F238E27FC236}">
                <a16:creationId xmlns:a16="http://schemas.microsoft.com/office/drawing/2014/main" id="{CAEF6CBD-A178-6D46-8BBB-52790870B985}"/>
              </a:ext>
            </a:extLst>
          </p:cNvPr>
          <p:cNvSpPr txBox="1"/>
          <p:nvPr/>
        </p:nvSpPr>
        <p:spPr>
          <a:xfrm>
            <a:off x="188999" y="1882689"/>
            <a:ext cx="8766002" cy="1378122"/>
          </a:xfrm>
          <a:prstGeom prst="rect">
            <a:avLst/>
          </a:prstGeom>
        </p:spPr>
        <p:txBody>
          <a:bodyPr vert="horz" wrap="square" lIns="0" tIns="115114" rIns="0" bIns="0" rtlCol="0" anchor="ctr">
            <a:spAutoFit/>
          </a:bodyPr>
          <a:lstStyle/>
          <a:p>
            <a:pPr marL="10860" marR="931768"/>
            <a:r>
              <a:rPr lang="de-DE" sz="4100" spc="-43">
                <a:solidFill>
                  <a:schemeClr val="bg1"/>
                </a:solidFill>
                <a:latin typeface="+mj-lt"/>
                <a:cs typeface="EONBrixSansBlack"/>
              </a:rPr>
              <a:t>What was the challenge? </a:t>
            </a:r>
          </a:p>
          <a:p>
            <a:pPr marL="10860" marR="931768"/>
            <a:r>
              <a:rPr lang="de-DE" sz="4100" spc="-43">
                <a:solidFill>
                  <a:schemeClr val="bg1"/>
                </a:solidFill>
                <a:latin typeface="+mj-lt"/>
                <a:cs typeface="EONBrixSansBlack"/>
              </a:rPr>
              <a:t>Key learnings and role of Erwin</a:t>
            </a:r>
          </a:p>
        </p:txBody>
      </p:sp>
    </p:spTree>
    <p:extLst>
      <p:ext uri="{BB962C8B-B14F-4D97-AF65-F5344CB8AC3E}">
        <p14:creationId xmlns:p14="http://schemas.microsoft.com/office/powerpoint/2010/main" val="2195262775"/>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5115182" y="1891823"/>
            <a:ext cx="3463673" cy="1148569"/>
            <a:chOff x="0" y="0"/>
            <a:chExt cx="4050501" cy="1343163"/>
          </a:xfrm>
        </p:grpSpPr>
        <p:sp>
          <p:nvSpPr>
            <p:cNvPr id="3" name="Freeform 3"/>
            <p:cNvSpPr/>
            <p:nvPr/>
          </p:nvSpPr>
          <p:spPr>
            <a:xfrm>
              <a:off x="0" y="0"/>
              <a:ext cx="4050502" cy="1343163"/>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p:spPr>
          <p:style>
            <a:lnRef idx="2">
              <a:schemeClr val="accent1"/>
            </a:lnRef>
            <a:fillRef idx="1">
              <a:schemeClr val="lt1"/>
            </a:fillRef>
            <a:effectRef idx="0">
              <a:schemeClr val="accent1"/>
            </a:effectRef>
            <a:fontRef idx="minor">
              <a:schemeClr val="dk1"/>
            </a:fontRef>
          </p:style>
        </p:sp>
      </p:grpSp>
      <p:grpSp>
        <p:nvGrpSpPr>
          <p:cNvPr id="4" name="Group 4"/>
          <p:cNvGrpSpPr/>
          <p:nvPr/>
        </p:nvGrpSpPr>
        <p:grpSpPr>
          <a:xfrm>
            <a:off x="5115182" y="3374939"/>
            <a:ext cx="3463673" cy="1446283"/>
            <a:chOff x="0" y="0"/>
            <a:chExt cx="4050501" cy="1343163"/>
          </a:xfrm>
        </p:grpSpPr>
        <p:sp>
          <p:nvSpPr>
            <p:cNvPr id="5" name="Freeform 5"/>
            <p:cNvSpPr/>
            <p:nvPr/>
          </p:nvSpPr>
          <p:spPr>
            <a:xfrm>
              <a:off x="0" y="0"/>
              <a:ext cx="4050502" cy="1343163"/>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p:spPr>
          <p:style>
            <a:lnRef idx="2">
              <a:schemeClr val="accent1"/>
            </a:lnRef>
            <a:fillRef idx="1">
              <a:schemeClr val="lt1"/>
            </a:fillRef>
            <a:effectRef idx="0">
              <a:schemeClr val="accent1"/>
            </a:effectRef>
            <a:fontRef idx="minor">
              <a:schemeClr val="dk1"/>
            </a:fontRef>
          </p:style>
        </p:sp>
      </p:grpSp>
      <p:sp>
        <p:nvSpPr>
          <p:cNvPr id="32" name="TextBox 32"/>
          <p:cNvSpPr txBox="1"/>
          <p:nvPr/>
        </p:nvSpPr>
        <p:spPr>
          <a:xfrm>
            <a:off x="5491574" y="2033737"/>
            <a:ext cx="2888218" cy="901144"/>
          </a:xfrm>
          <a:prstGeom prst="rect">
            <a:avLst/>
          </a:prstGeom>
        </p:spPr>
        <p:txBody>
          <a:bodyPr lIns="0" tIns="0" rIns="0" bIns="0" rtlCol="0" anchor="t">
            <a:spAutoFit/>
          </a:bodyPr>
          <a:lstStyle/>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Getting the big picture and an idea of what sub-topics exist and what expertise is needed</a:t>
            </a:r>
          </a:p>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Focusing on only two topics helped us keeping it manageable</a:t>
            </a:r>
          </a:p>
        </p:txBody>
      </p:sp>
      <p:sp>
        <p:nvSpPr>
          <p:cNvPr id="33" name="TextBox 33"/>
          <p:cNvSpPr txBox="1"/>
          <p:nvPr/>
        </p:nvSpPr>
        <p:spPr>
          <a:xfrm>
            <a:off x="5289655" y="3516853"/>
            <a:ext cx="3196799" cy="1129027"/>
          </a:xfrm>
          <a:prstGeom prst="rect">
            <a:avLst/>
          </a:prstGeom>
        </p:spPr>
        <p:txBody>
          <a:bodyPr wrap="square" lIns="0" tIns="0" rIns="0" bIns="0" rtlCol="0" anchor="t">
            <a:spAutoFit/>
          </a:bodyPr>
          <a:lstStyle/>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Selecting the tool you want to use is a (not easy) crucial step</a:t>
            </a:r>
          </a:p>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It was one of the most important decisions we made </a:t>
            </a:r>
          </a:p>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Regardless of the size of your business, you need the appropriate software tools. </a:t>
            </a:r>
          </a:p>
        </p:txBody>
      </p:sp>
      <p:sp>
        <p:nvSpPr>
          <p:cNvPr id="37" name="Rechteck 10">
            <a:extLst>
              <a:ext uri="{FF2B5EF4-FFF2-40B4-BE49-F238E27FC236}">
                <a16:creationId xmlns:a16="http://schemas.microsoft.com/office/drawing/2014/main" id="{4F980CF2-23A7-45DB-8311-92B86DF5DC84}"/>
              </a:ext>
            </a:extLst>
          </p:cNvPr>
          <p:cNvSpPr/>
          <p:nvPr/>
        </p:nvSpPr>
        <p:spPr>
          <a:xfrm>
            <a:off x="-8818" y="-4663"/>
            <a:ext cx="302818" cy="5152925"/>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pic>
        <p:nvPicPr>
          <p:cNvPr id="8194" name="Picture 2" descr="Don't Eat the Elephant One Bite at a Time!">
            <a:extLst>
              <a:ext uri="{FF2B5EF4-FFF2-40B4-BE49-F238E27FC236}">
                <a16:creationId xmlns:a16="http://schemas.microsoft.com/office/drawing/2014/main" id="{A813ADBE-F6E6-483F-9A71-C43C2A0099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6293" y="1990413"/>
            <a:ext cx="2769052" cy="276905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 picture containing graphical user interface&#10;&#10;Description automatically generated">
            <a:extLst>
              <a:ext uri="{FF2B5EF4-FFF2-40B4-BE49-F238E27FC236}">
                <a16:creationId xmlns:a16="http://schemas.microsoft.com/office/drawing/2014/main" id="{837A6F86-5625-4CD7-866D-81CCC1A102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18147" y="3649841"/>
            <a:ext cx="1192818" cy="1192818"/>
          </a:xfrm>
          <a:prstGeom prst="rect">
            <a:avLst/>
          </a:prstGeom>
        </p:spPr>
      </p:pic>
      <p:pic>
        <p:nvPicPr>
          <p:cNvPr id="19" name="Picture 18" descr="Icon&#10;&#10;Description automatically generated">
            <a:extLst>
              <a:ext uri="{FF2B5EF4-FFF2-40B4-BE49-F238E27FC236}">
                <a16:creationId xmlns:a16="http://schemas.microsoft.com/office/drawing/2014/main" id="{B2F50FF9-9BAD-4D74-AC1E-E883E7D58E7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6837" y="1884407"/>
            <a:ext cx="1192818" cy="1192818"/>
          </a:xfrm>
          <a:prstGeom prst="rect">
            <a:avLst/>
          </a:prstGeom>
        </p:spPr>
      </p:pic>
      <p:grpSp>
        <p:nvGrpSpPr>
          <p:cNvPr id="43" name="Group 42">
            <a:extLst>
              <a:ext uri="{FF2B5EF4-FFF2-40B4-BE49-F238E27FC236}">
                <a16:creationId xmlns:a16="http://schemas.microsoft.com/office/drawing/2014/main" id="{A6F59F45-3C08-4E68-B3E5-6A288F34F4D0}"/>
              </a:ext>
            </a:extLst>
          </p:cNvPr>
          <p:cNvGrpSpPr/>
          <p:nvPr/>
        </p:nvGrpSpPr>
        <p:grpSpPr>
          <a:xfrm>
            <a:off x="1712076" y="211984"/>
            <a:ext cx="5962339" cy="1492121"/>
            <a:chOff x="1316643" y="155749"/>
            <a:chExt cx="5962339" cy="1492121"/>
          </a:xfrm>
        </p:grpSpPr>
        <p:grpSp>
          <p:nvGrpSpPr>
            <p:cNvPr id="42" name="Group 41">
              <a:extLst>
                <a:ext uri="{FF2B5EF4-FFF2-40B4-BE49-F238E27FC236}">
                  <a16:creationId xmlns:a16="http://schemas.microsoft.com/office/drawing/2014/main" id="{0CFCE475-E19A-4AA6-8B98-FB8669F49C1A}"/>
                </a:ext>
              </a:extLst>
            </p:cNvPr>
            <p:cNvGrpSpPr/>
            <p:nvPr/>
          </p:nvGrpSpPr>
          <p:grpSpPr>
            <a:xfrm>
              <a:off x="1865018" y="556812"/>
              <a:ext cx="5413964" cy="1091058"/>
              <a:chOff x="514350" y="875585"/>
              <a:chExt cx="5413964" cy="1091058"/>
            </a:xfrm>
          </p:grpSpPr>
          <p:grpSp>
            <p:nvGrpSpPr>
              <p:cNvPr id="8" name="Group 8"/>
              <p:cNvGrpSpPr/>
              <p:nvPr/>
            </p:nvGrpSpPr>
            <p:grpSpPr>
              <a:xfrm>
                <a:off x="514350" y="875585"/>
                <a:ext cx="5198878" cy="1091058"/>
                <a:chOff x="0" y="2"/>
                <a:chExt cx="7440300" cy="2909488"/>
              </a:xfrm>
            </p:grpSpPr>
            <p:grpSp>
              <p:nvGrpSpPr>
                <p:cNvPr id="9" name="Group 9"/>
                <p:cNvGrpSpPr/>
                <p:nvPr/>
              </p:nvGrpSpPr>
              <p:grpSpPr>
                <a:xfrm>
                  <a:off x="0" y="2"/>
                  <a:ext cx="7440300" cy="2909488"/>
                  <a:chOff x="0" y="1"/>
                  <a:chExt cx="3262824" cy="1275909"/>
                </a:xfrm>
              </p:grpSpPr>
              <p:sp>
                <p:nvSpPr>
                  <p:cNvPr id="10" name="Freeform 10"/>
                  <p:cNvSpPr/>
                  <p:nvPr/>
                </p:nvSpPr>
                <p:spPr>
                  <a:xfrm>
                    <a:off x="0" y="1"/>
                    <a:ext cx="3262824" cy="1275909"/>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11" name="TextBox 11"/>
                <p:cNvSpPr txBox="1"/>
                <p:nvPr/>
              </p:nvSpPr>
              <p:spPr>
                <a:xfrm>
                  <a:off x="472877" y="574096"/>
                  <a:ext cx="6494548" cy="2215992"/>
                </a:xfrm>
                <a:prstGeom prst="rect">
                  <a:avLst/>
                </a:prstGeom>
              </p:spPr>
              <p:txBody>
                <a:bodyPr lIns="0" tIns="0" rIns="0" bIns="0" rtlCol="0" anchor="t">
                  <a:spAutoFit/>
                </a:bodyPr>
                <a:lstStyle/>
                <a:p>
                  <a:pPr algn="ctr">
                    <a:spcBef>
                      <a:spcPct val="0"/>
                    </a:spcBef>
                  </a:pPr>
                  <a:r>
                    <a:rPr lang="en-US" sz="1800" i="1">
                      <a:solidFill>
                        <a:srgbClr val="EA1C0A"/>
                      </a:solidFill>
                      <a:latin typeface="+mn-lt"/>
                    </a:rPr>
                    <a:t>“There is only one way to eat an elephant: a bite at a time.”</a:t>
                  </a:r>
                </a:p>
              </p:txBody>
            </p:sp>
          </p:grpSp>
          <p:sp>
            <p:nvSpPr>
              <p:cNvPr id="36" name="TextBox 11">
                <a:extLst>
                  <a:ext uri="{FF2B5EF4-FFF2-40B4-BE49-F238E27FC236}">
                    <a16:creationId xmlns:a16="http://schemas.microsoft.com/office/drawing/2014/main" id="{5364C3E7-86E2-4AAF-B675-56D6668A677C}"/>
                  </a:ext>
                </a:extLst>
              </p:cNvPr>
              <p:cNvSpPr txBox="1"/>
              <p:nvPr/>
            </p:nvSpPr>
            <p:spPr>
              <a:xfrm>
                <a:off x="3492858" y="1592387"/>
                <a:ext cx="2435456" cy="215444"/>
              </a:xfrm>
              <a:prstGeom prst="rect">
                <a:avLst/>
              </a:prstGeom>
            </p:spPr>
            <p:txBody>
              <a:bodyPr wrap="square" lIns="0" tIns="0" rIns="0" bIns="0" rtlCol="0" anchor="t">
                <a:spAutoFit/>
              </a:bodyPr>
              <a:lstStyle/>
              <a:p>
                <a:pPr algn="ctr">
                  <a:spcBef>
                    <a:spcPct val="0"/>
                  </a:spcBef>
                </a:pPr>
                <a:r>
                  <a:rPr lang="en-US">
                    <a:solidFill>
                      <a:srgbClr val="EA1C0A"/>
                    </a:solidFill>
                    <a:latin typeface="+mn-lt"/>
                  </a:rPr>
                  <a:t>Desmond Tutu</a:t>
                </a:r>
              </a:p>
            </p:txBody>
          </p:sp>
        </p:grpSp>
        <p:grpSp>
          <p:nvGrpSpPr>
            <p:cNvPr id="41" name="Group 40">
              <a:extLst>
                <a:ext uri="{FF2B5EF4-FFF2-40B4-BE49-F238E27FC236}">
                  <a16:creationId xmlns:a16="http://schemas.microsoft.com/office/drawing/2014/main" id="{F8256585-EAAB-43EA-8987-6FFA39455690}"/>
                </a:ext>
              </a:extLst>
            </p:cNvPr>
            <p:cNvGrpSpPr/>
            <p:nvPr/>
          </p:nvGrpSpPr>
          <p:grpSpPr>
            <a:xfrm>
              <a:off x="1316643" y="155749"/>
              <a:ext cx="901544" cy="802125"/>
              <a:chOff x="471329" y="286473"/>
              <a:chExt cx="901544" cy="802125"/>
            </a:xfrm>
          </p:grpSpPr>
          <p:grpSp>
            <p:nvGrpSpPr>
              <p:cNvPr id="13" name="Group 13"/>
              <p:cNvGrpSpPr/>
              <p:nvPr/>
            </p:nvGrpSpPr>
            <p:grpSpPr>
              <a:xfrm>
                <a:off x="471329" y="286473"/>
                <a:ext cx="901544" cy="802125"/>
                <a:chOff x="0" y="0"/>
                <a:chExt cx="2356214" cy="671539"/>
              </a:xfrm>
            </p:grpSpPr>
            <p:sp>
              <p:nvSpPr>
                <p:cNvPr id="14" name="Freeform 14"/>
                <p:cNvSpPr/>
                <p:nvPr/>
              </p:nvSpPr>
              <p:spPr>
                <a:xfrm>
                  <a:off x="0" y="0"/>
                  <a:ext cx="2356215" cy="671539"/>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rgbClr val="EA1C0A"/>
                </a:solidFill>
              </p:spPr>
            </p:sp>
          </p:grpSp>
          <p:pic>
            <p:nvPicPr>
              <p:cNvPr id="40" name="Picture 39" descr="Icon&#10;&#10;Description automatically generated">
                <a:extLst>
                  <a:ext uri="{FF2B5EF4-FFF2-40B4-BE49-F238E27FC236}">
                    <a16:creationId xmlns:a16="http://schemas.microsoft.com/office/drawing/2014/main" id="{79975523-7A12-4E57-B3D9-F0E22297C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196" y="315707"/>
                <a:ext cx="743656" cy="743656"/>
              </a:xfrm>
              <a:prstGeom prst="rect">
                <a:avLst/>
              </a:prstGeom>
            </p:spPr>
          </p:pic>
        </p:grpSp>
      </p:grpSp>
    </p:spTree>
    <p:extLst>
      <p:ext uri="{BB962C8B-B14F-4D97-AF65-F5344CB8AC3E}">
        <p14:creationId xmlns:p14="http://schemas.microsoft.com/office/powerpoint/2010/main" val="4134489953"/>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Arrow: Right 50">
            <a:extLst>
              <a:ext uri="{FF2B5EF4-FFF2-40B4-BE49-F238E27FC236}">
                <a16:creationId xmlns:a16="http://schemas.microsoft.com/office/drawing/2014/main" id="{12388376-36BA-5BAF-C586-BF59EAD577D4}"/>
              </a:ext>
            </a:extLst>
          </p:cNvPr>
          <p:cNvSpPr/>
          <p:nvPr/>
        </p:nvSpPr>
        <p:spPr>
          <a:xfrm>
            <a:off x="527576" y="1456408"/>
            <a:ext cx="4891254" cy="2938924"/>
          </a:xfrm>
          <a:prstGeom prst="rightArrow">
            <a:avLst/>
          </a:prstGeom>
          <a:solidFill>
            <a:srgbClr val="EA1C0A">
              <a:alpha val="1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hteck 10">
            <a:extLst>
              <a:ext uri="{FF2B5EF4-FFF2-40B4-BE49-F238E27FC236}">
                <a16:creationId xmlns:a16="http://schemas.microsoft.com/office/drawing/2014/main" id="{4F980CF2-23A7-45DB-8311-92B86DF5DC84}"/>
              </a:ext>
            </a:extLst>
          </p:cNvPr>
          <p:cNvSpPr/>
          <p:nvPr/>
        </p:nvSpPr>
        <p:spPr>
          <a:xfrm>
            <a:off x="-8818" y="-4663"/>
            <a:ext cx="302818" cy="51529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grpSp>
        <p:nvGrpSpPr>
          <p:cNvPr id="18" name="Group 17">
            <a:extLst>
              <a:ext uri="{FF2B5EF4-FFF2-40B4-BE49-F238E27FC236}">
                <a16:creationId xmlns:a16="http://schemas.microsoft.com/office/drawing/2014/main" id="{CA6643B9-B74B-4A1F-BCDF-4D7AC36CF48C}"/>
              </a:ext>
            </a:extLst>
          </p:cNvPr>
          <p:cNvGrpSpPr/>
          <p:nvPr/>
        </p:nvGrpSpPr>
        <p:grpSpPr>
          <a:xfrm>
            <a:off x="5470768" y="1882957"/>
            <a:ext cx="3378698" cy="865803"/>
            <a:chOff x="4506581" y="3427701"/>
            <a:chExt cx="5015302" cy="1192540"/>
          </a:xfrm>
        </p:grpSpPr>
        <p:grpSp>
          <p:nvGrpSpPr>
            <p:cNvPr id="4" name="Group 4"/>
            <p:cNvGrpSpPr/>
            <p:nvPr/>
          </p:nvGrpSpPr>
          <p:grpSpPr>
            <a:xfrm>
              <a:off x="5165977" y="3427701"/>
              <a:ext cx="4355906" cy="1192540"/>
              <a:chOff x="0" y="1"/>
              <a:chExt cx="5093899" cy="1107512"/>
            </a:xfrm>
          </p:grpSpPr>
          <p:sp>
            <p:nvSpPr>
              <p:cNvPr id="5" name="Freeform 5"/>
              <p:cNvSpPr/>
              <p:nvPr/>
            </p:nvSpPr>
            <p:spPr>
              <a:xfrm>
                <a:off x="0" y="1"/>
                <a:ext cx="5093899" cy="1107512"/>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3" name="TextBox 33"/>
            <p:cNvSpPr txBox="1"/>
            <p:nvPr/>
          </p:nvSpPr>
          <p:spPr>
            <a:xfrm>
              <a:off x="5329684" y="3528764"/>
              <a:ext cx="4056883" cy="925660"/>
            </a:xfrm>
            <a:prstGeom prst="rect">
              <a:avLst/>
            </a:prstGeom>
          </p:spPr>
          <p:txBody>
            <a:bodyPr wrap="square" lIns="0" tIns="0" rIns="0" bIns="0" rtlCol="0" anchor="t">
              <a:spAutoFit/>
            </a:bodyPr>
            <a:lstStyle/>
            <a:p>
              <a:pPr marL="179070" indent="-179070">
                <a:lnSpc>
                  <a:spcPts val="1754"/>
                </a:lnSpc>
                <a:spcBef>
                  <a:spcPct val="0"/>
                </a:spcBef>
                <a:buClr>
                  <a:srgbClr val="141414"/>
                </a:buClr>
                <a:buSzPct val="100000"/>
                <a:buFont typeface="Arial" panose="020B0604020202020204" pitchFamily="34" charset="0"/>
                <a:buChar char="•"/>
              </a:pPr>
              <a:r>
                <a:rPr lang="en-US" sz="1100">
                  <a:solidFill>
                    <a:srgbClr val="242424"/>
                  </a:solidFill>
                </a:rPr>
                <a:t> helps improve customer services</a:t>
              </a:r>
              <a:endParaRPr lang="en-US">
                <a:solidFill>
                  <a:srgbClr val="000000"/>
                </a:solidFill>
              </a:endParaRPr>
            </a:p>
            <a:p>
              <a:pPr marL="179070" indent="-179070">
                <a:lnSpc>
                  <a:spcPts val="1754"/>
                </a:lnSpc>
                <a:spcBef>
                  <a:spcPct val="0"/>
                </a:spcBef>
                <a:buClr>
                  <a:srgbClr val="141414"/>
                </a:buClr>
                <a:buSzPct val="100000"/>
                <a:buFont typeface="Arial" panose="020B0604020202020204" pitchFamily="34" charset="0"/>
                <a:buChar char="•"/>
              </a:pPr>
              <a:r>
                <a:rPr lang="en-US" sz="1100">
                  <a:solidFill>
                    <a:srgbClr val="242424"/>
                  </a:solidFill>
                </a:rPr>
                <a:t>as well as increase employee productivity and satisfaction</a:t>
              </a:r>
              <a:endParaRPr lang="en-US"/>
            </a:p>
          </p:txBody>
        </p:sp>
        <p:pic>
          <p:nvPicPr>
            <p:cNvPr id="17" name="Picture 16">
              <a:extLst>
                <a:ext uri="{FF2B5EF4-FFF2-40B4-BE49-F238E27FC236}">
                  <a16:creationId xmlns:a16="http://schemas.microsoft.com/office/drawing/2014/main" id="{837A6F86-5625-4CD7-866D-81CCC1A102F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06581" y="3637869"/>
              <a:ext cx="743229" cy="743229"/>
            </a:xfrm>
            <a:prstGeom prst="rect">
              <a:avLst/>
            </a:prstGeom>
          </p:spPr>
        </p:pic>
      </p:grpSp>
      <p:grpSp>
        <p:nvGrpSpPr>
          <p:cNvPr id="20" name="Group 19">
            <a:extLst>
              <a:ext uri="{FF2B5EF4-FFF2-40B4-BE49-F238E27FC236}">
                <a16:creationId xmlns:a16="http://schemas.microsoft.com/office/drawing/2014/main" id="{53A760A3-EBA9-41CA-A1CC-D0D4AF6CF957}"/>
              </a:ext>
            </a:extLst>
          </p:cNvPr>
          <p:cNvGrpSpPr/>
          <p:nvPr/>
        </p:nvGrpSpPr>
        <p:grpSpPr>
          <a:xfrm>
            <a:off x="5914985" y="2927961"/>
            <a:ext cx="2934476" cy="574644"/>
            <a:chOff x="5165976" y="1878555"/>
            <a:chExt cx="4355906" cy="789522"/>
          </a:xfrm>
        </p:grpSpPr>
        <p:grpSp>
          <p:nvGrpSpPr>
            <p:cNvPr id="2" name="Group 2"/>
            <p:cNvGrpSpPr/>
            <p:nvPr/>
          </p:nvGrpSpPr>
          <p:grpSpPr>
            <a:xfrm>
              <a:off x="5165976" y="1878555"/>
              <a:ext cx="4355906" cy="789522"/>
              <a:chOff x="-1" y="112668"/>
              <a:chExt cx="5093900" cy="923285"/>
            </a:xfrm>
          </p:grpSpPr>
          <p:sp>
            <p:nvSpPr>
              <p:cNvPr id="3" name="Freeform 3"/>
              <p:cNvSpPr/>
              <p:nvPr/>
            </p:nvSpPr>
            <p:spPr>
              <a:xfrm>
                <a:off x="-1" y="112668"/>
                <a:ext cx="5093900" cy="923285"/>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2" name="TextBox 32"/>
            <p:cNvSpPr txBox="1"/>
            <p:nvPr/>
          </p:nvSpPr>
          <p:spPr>
            <a:xfrm>
              <a:off x="5361266" y="2127505"/>
              <a:ext cx="3442401" cy="289046"/>
            </a:xfrm>
            <a:prstGeom prst="rect">
              <a:avLst/>
            </a:prstGeom>
          </p:spPr>
          <p:txBody>
            <a:bodyPr wrap="square" lIns="0" tIns="0" rIns="0" bIns="0" rtlCol="0" anchor="t">
              <a:spAutoFit/>
            </a:bodyPr>
            <a:lstStyle/>
            <a:p>
              <a:pPr marL="179070" indent="-179070">
                <a:lnSpc>
                  <a:spcPts val="1754"/>
                </a:lnSpc>
                <a:buClr>
                  <a:srgbClr val="141414"/>
                </a:buClr>
                <a:buSzPct val="100000"/>
                <a:buFont typeface="Arial" panose="020B0604020202020204" pitchFamily="34" charset="0"/>
                <a:buChar char="•"/>
              </a:pPr>
              <a:r>
                <a:rPr lang="en-US" sz="1100">
                  <a:solidFill>
                    <a:srgbClr val="242424"/>
                  </a:solidFill>
                </a:rPr>
                <a:t>increases efficiency in managing grid </a:t>
              </a:r>
            </a:p>
          </p:txBody>
        </p:sp>
      </p:grpSp>
      <p:grpSp>
        <p:nvGrpSpPr>
          <p:cNvPr id="16" name="Group 15">
            <a:extLst>
              <a:ext uri="{FF2B5EF4-FFF2-40B4-BE49-F238E27FC236}">
                <a16:creationId xmlns:a16="http://schemas.microsoft.com/office/drawing/2014/main" id="{60D8888A-8B57-42CC-8A64-68CB76EB6567}"/>
              </a:ext>
            </a:extLst>
          </p:cNvPr>
          <p:cNvGrpSpPr/>
          <p:nvPr/>
        </p:nvGrpSpPr>
        <p:grpSpPr>
          <a:xfrm>
            <a:off x="1862618" y="99742"/>
            <a:ext cx="5415257" cy="1440613"/>
            <a:chOff x="1465255" y="101748"/>
            <a:chExt cx="5415257" cy="1440613"/>
          </a:xfrm>
        </p:grpSpPr>
        <p:grpSp>
          <p:nvGrpSpPr>
            <p:cNvPr id="8" name="Group 8"/>
            <p:cNvGrpSpPr/>
            <p:nvPr/>
          </p:nvGrpSpPr>
          <p:grpSpPr>
            <a:xfrm>
              <a:off x="2105425" y="321172"/>
              <a:ext cx="4458945" cy="1149698"/>
              <a:chOff x="-3994418" y="2"/>
              <a:chExt cx="11890519" cy="3065861"/>
            </a:xfrm>
          </p:grpSpPr>
          <p:grpSp>
            <p:nvGrpSpPr>
              <p:cNvPr id="9" name="Group 9"/>
              <p:cNvGrpSpPr/>
              <p:nvPr/>
            </p:nvGrpSpPr>
            <p:grpSpPr>
              <a:xfrm>
                <a:off x="-3994418" y="2"/>
                <a:ext cx="11890519" cy="3065861"/>
                <a:chOff x="-1751688" y="1"/>
                <a:chExt cx="5214396" cy="1344484"/>
              </a:xfrm>
            </p:grpSpPr>
            <p:sp>
              <p:nvSpPr>
                <p:cNvPr id="10" name="Freeform 10"/>
                <p:cNvSpPr/>
                <p:nvPr/>
              </p:nvSpPr>
              <p:spPr>
                <a:xfrm>
                  <a:off x="-1751688" y="1"/>
                  <a:ext cx="5214396" cy="1344484"/>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11" name="TextBox 11"/>
              <p:cNvSpPr txBox="1"/>
              <p:nvPr/>
            </p:nvSpPr>
            <p:spPr>
              <a:xfrm>
                <a:off x="-3271605" y="314525"/>
                <a:ext cx="10340535" cy="2215992"/>
              </a:xfrm>
              <a:prstGeom prst="rect">
                <a:avLst/>
              </a:prstGeom>
            </p:spPr>
            <p:txBody>
              <a:bodyPr wrap="square" lIns="0" tIns="0" rIns="0" bIns="0" rtlCol="0" anchor="t">
                <a:spAutoFit/>
              </a:bodyPr>
              <a:lstStyle/>
              <a:p>
                <a:pPr algn="ctr">
                  <a:spcBef>
                    <a:spcPct val="0"/>
                  </a:spcBef>
                </a:pPr>
                <a:r>
                  <a:rPr lang="en-US" sz="1800" i="1">
                    <a:solidFill>
                      <a:srgbClr val="5CC1CB"/>
                    </a:solidFill>
                    <a:latin typeface="+mn-lt"/>
                  </a:rPr>
                  <a:t>“Someone is sitting in the shade today because someone planted a tree a long time ago.” </a:t>
                </a:r>
                <a:endParaRPr lang="en-US" sz="1800">
                  <a:solidFill>
                    <a:srgbClr val="000000"/>
                  </a:solidFill>
                  <a:latin typeface="+mn-lt"/>
                </a:endParaRPr>
              </a:p>
            </p:txBody>
          </p:sp>
        </p:grpSp>
        <p:sp>
          <p:nvSpPr>
            <p:cNvPr id="36" name="TextBox 11">
              <a:extLst>
                <a:ext uri="{FF2B5EF4-FFF2-40B4-BE49-F238E27FC236}">
                  <a16:creationId xmlns:a16="http://schemas.microsoft.com/office/drawing/2014/main" id="{5364C3E7-86E2-4AAF-B675-56D6668A677C}"/>
                </a:ext>
              </a:extLst>
            </p:cNvPr>
            <p:cNvSpPr txBox="1"/>
            <p:nvPr/>
          </p:nvSpPr>
          <p:spPr>
            <a:xfrm>
              <a:off x="4445056" y="1111474"/>
              <a:ext cx="2435456" cy="430887"/>
            </a:xfrm>
            <a:prstGeom prst="rect">
              <a:avLst/>
            </a:prstGeom>
          </p:spPr>
          <p:txBody>
            <a:bodyPr wrap="square" lIns="0" tIns="0" rIns="0" bIns="0" rtlCol="0" anchor="t">
              <a:spAutoFit/>
            </a:bodyPr>
            <a:lstStyle/>
            <a:p>
              <a:pPr algn="ctr">
                <a:spcBef>
                  <a:spcPct val="0"/>
                </a:spcBef>
              </a:pPr>
              <a:r>
                <a:rPr lang="en-US">
                  <a:solidFill>
                    <a:srgbClr val="5CC1CB"/>
                  </a:solidFill>
                  <a:latin typeface="+mn-lt"/>
                </a:rPr>
                <a:t> Warren Buffett</a:t>
              </a:r>
            </a:p>
            <a:p>
              <a:pPr algn="ctr">
                <a:spcBef>
                  <a:spcPct val="0"/>
                </a:spcBef>
              </a:pPr>
              <a:endParaRPr lang="en-US">
                <a:solidFill>
                  <a:srgbClr val="5CC1CB"/>
                </a:solidFill>
                <a:latin typeface="+mn-lt"/>
              </a:endParaRPr>
            </a:p>
          </p:txBody>
        </p:sp>
        <p:grpSp>
          <p:nvGrpSpPr>
            <p:cNvPr id="41" name="Group 40">
              <a:extLst>
                <a:ext uri="{FF2B5EF4-FFF2-40B4-BE49-F238E27FC236}">
                  <a16:creationId xmlns:a16="http://schemas.microsoft.com/office/drawing/2014/main" id="{F8256585-EAAB-43EA-8987-6FFA39455690}"/>
                </a:ext>
              </a:extLst>
            </p:cNvPr>
            <p:cNvGrpSpPr/>
            <p:nvPr/>
          </p:nvGrpSpPr>
          <p:grpSpPr>
            <a:xfrm>
              <a:off x="1465255" y="101748"/>
              <a:ext cx="901544" cy="802125"/>
              <a:chOff x="471329" y="286473"/>
              <a:chExt cx="901544" cy="802125"/>
            </a:xfrm>
          </p:grpSpPr>
          <p:grpSp>
            <p:nvGrpSpPr>
              <p:cNvPr id="13" name="Group 13"/>
              <p:cNvGrpSpPr/>
              <p:nvPr/>
            </p:nvGrpSpPr>
            <p:grpSpPr>
              <a:xfrm>
                <a:off x="471329" y="286473"/>
                <a:ext cx="901544" cy="802125"/>
                <a:chOff x="0" y="0"/>
                <a:chExt cx="2356214" cy="671539"/>
              </a:xfrm>
            </p:grpSpPr>
            <p:sp>
              <p:nvSpPr>
                <p:cNvPr id="14" name="Freeform 14"/>
                <p:cNvSpPr/>
                <p:nvPr/>
              </p:nvSpPr>
              <p:spPr>
                <a:xfrm>
                  <a:off x="0" y="0"/>
                  <a:ext cx="2356215" cy="671539"/>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chemeClr val="accent2"/>
                </a:solidFill>
              </p:spPr>
            </p:sp>
          </p:grpSp>
          <p:pic>
            <p:nvPicPr>
              <p:cNvPr id="40" name="Picture 39" descr="Icon&#10;&#10;Description automatically generated">
                <a:extLst>
                  <a:ext uri="{FF2B5EF4-FFF2-40B4-BE49-F238E27FC236}">
                    <a16:creationId xmlns:a16="http://schemas.microsoft.com/office/drawing/2014/main" id="{79975523-7A12-4E57-B3D9-F0E22297C44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5196" y="315707"/>
                <a:ext cx="743656" cy="743656"/>
              </a:xfrm>
              <a:prstGeom prst="rect">
                <a:avLst/>
              </a:prstGeom>
            </p:spPr>
          </p:pic>
        </p:grpSp>
      </p:grpSp>
      <p:grpSp>
        <p:nvGrpSpPr>
          <p:cNvPr id="28" name="Group 27">
            <a:extLst>
              <a:ext uri="{FF2B5EF4-FFF2-40B4-BE49-F238E27FC236}">
                <a16:creationId xmlns:a16="http://schemas.microsoft.com/office/drawing/2014/main" id="{EB420234-A86C-4722-B935-A13886A1FBC5}"/>
              </a:ext>
            </a:extLst>
          </p:cNvPr>
          <p:cNvGrpSpPr/>
          <p:nvPr/>
        </p:nvGrpSpPr>
        <p:grpSpPr>
          <a:xfrm>
            <a:off x="5423208" y="3699849"/>
            <a:ext cx="3429763" cy="1265898"/>
            <a:chOff x="4798368" y="1782211"/>
            <a:chExt cx="5079555" cy="1742506"/>
          </a:xfrm>
        </p:grpSpPr>
        <p:grpSp>
          <p:nvGrpSpPr>
            <p:cNvPr id="29" name="Group 2">
              <a:extLst>
                <a:ext uri="{FF2B5EF4-FFF2-40B4-BE49-F238E27FC236}">
                  <a16:creationId xmlns:a16="http://schemas.microsoft.com/office/drawing/2014/main" id="{C7CF1D6F-7704-4932-B088-36949B1E716C}"/>
                </a:ext>
              </a:extLst>
            </p:cNvPr>
            <p:cNvGrpSpPr/>
            <p:nvPr/>
          </p:nvGrpSpPr>
          <p:grpSpPr>
            <a:xfrm>
              <a:off x="5501370" y="1782211"/>
              <a:ext cx="4376553" cy="1663130"/>
              <a:chOff x="392216" y="1"/>
              <a:chExt cx="5118045" cy="1944903"/>
            </a:xfrm>
          </p:grpSpPr>
          <p:sp>
            <p:nvSpPr>
              <p:cNvPr id="34" name="Freeform 3">
                <a:extLst>
                  <a:ext uri="{FF2B5EF4-FFF2-40B4-BE49-F238E27FC236}">
                    <a16:creationId xmlns:a16="http://schemas.microsoft.com/office/drawing/2014/main" id="{0E63A498-95F4-409B-8088-3A428CE0D848}"/>
                  </a:ext>
                </a:extLst>
              </p:cNvPr>
              <p:cNvSpPr/>
              <p:nvPr/>
            </p:nvSpPr>
            <p:spPr>
              <a:xfrm>
                <a:off x="392216" y="1"/>
                <a:ext cx="5118045" cy="1944903"/>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0" name="TextBox 32">
              <a:extLst>
                <a:ext uri="{FF2B5EF4-FFF2-40B4-BE49-F238E27FC236}">
                  <a16:creationId xmlns:a16="http://schemas.microsoft.com/office/drawing/2014/main" id="{38D3F8EC-E66D-4957-878B-B01240227C28}"/>
                </a:ext>
              </a:extLst>
            </p:cNvPr>
            <p:cNvSpPr txBox="1"/>
            <p:nvPr/>
          </p:nvSpPr>
          <p:spPr>
            <a:xfrm>
              <a:off x="5701501" y="1964170"/>
              <a:ext cx="4171219" cy="1560547"/>
            </a:xfrm>
            <a:prstGeom prst="rect">
              <a:avLst/>
            </a:prstGeom>
          </p:spPr>
          <p:txBody>
            <a:bodyPr wrap="square" lIns="0" tIns="0" rIns="0" bIns="0" rtlCol="0" anchor="t">
              <a:spAutoFit/>
            </a:bodyPr>
            <a:lstStyle/>
            <a:p>
              <a:pPr marL="179070" indent="-179070">
                <a:lnSpc>
                  <a:spcPts val="1754"/>
                </a:lnSpc>
                <a:buClr>
                  <a:srgbClr val="141414"/>
                </a:buClr>
                <a:buSzPct val="100000"/>
                <a:buFont typeface="Arial" panose="020B0604020202020204" pitchFamily="34" charset="0"/>
                <a:buChar char="•"/>
              </a:pPr>
              <a:r>
                <a:rPr lang="en-US" sz="1100">
                  <a:solidFill>
                    <a:srgbClr val="242424"/>
                  </a:solidFill>
                </a:rPr>
                <a:t>makes it easier to meet the regulatory requirements of the countries where E.ON operates</a:t>
              </a:r>
              <a:endParaRPr lang="en-US" sz="1100"/>
            </a:p>
            <a:p>
              <a:pPr marL="179070" indent="-179070">
                <a:lnSpc>
                  <a:spcPts val="1754"/>
                </a:lnSpc>
                <a:buClr>
                  <a:srgbClr val="141414"/>
                </a:buClr>
                <a:buSzPct val="100000"/>
                <a:buFont typeface="Arial" panose="020B0604020202020204" pitchFamily="34" charset="0"/>
                <a:buChar char="•"/>
              </a:pPr>
              <a:r>
                <a:rPr lang="en-US" sz="1100">
                  <a:solidFill>
                    <a:srgbClr val="242424"/>
                  </a:solidFill>
                </a:rPr>
                <a:t>reduces the risk of corresponding fines</a:t>
              </a:r>
            </a:p>
            <a:p>
              <a:pPr marL="179070" indent="-179070">
                <a:lnSpc>
                  <a:spcPts val="1754"/>
                </a:lnSpc>
                <a:buClr>
                  <a:srgbClr val="141414"/>
                </a:buClr>
                <a:buSzPct val="100000"/>
                <a:buFont typeface="Arial" panose="020B0604020202020204" pitchFamily="34" charset="0"/>
                <a:buChar char="•"/>
              </a:pPr>
              <a:endParaRPr lang="en-US" sz="1100">
                <a:solidFill>
                  <a:srgbClr val="141414"/>
                </a:solidFill>
                <a:latin typeface="EON Brix Sans Medium" panose="020B0600000000000000" pitchFamily="34" charset="0"/>
              </a:endParaRPr>
            </a:p>
          </p:txBody>
        </p:sp>
        <p:pic>
          <p:nvPicPr>
            <p:cNvPr id="31" name="Picture 30">
              <a:extLst>
                <a:ext uri="{FF2B5EF4-FFF2-40B4-BE49-F238E27FC236}">
                  <a16:creationId xmlns:a16="http://schemas.microsoft.com/office/drawing/2014/main" id="{93A7E393-DB50-4137-9B2A-1F4DF222D5D8}"/>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798368" y="2244573"/>
              <a:ext cx="743229" cy="743229"/>
            </a:xfrm>
            <a:prstGeom prst="rect">
              <a:avLst/>
            </a:prstGeom>
          </p:spPr>
        </p:pic>
      </p:grpSp>
      <p:sp>
        <p:nvSpPr>
          <p:cNvPr id="46" name="TextBox 45">
            <a:extLst>
              <a:ext uri="{FF2B5EF4-FFF2-40B4-BE49-F238E27FC236}">
                <a16:creationId xmlns:a16="http://schemas.microsoft.com/office/drawing/2014/main" id="{BB5EE5A0-F5A4-AA8D-F94E-8865985109C5}"/>
              </a:ext>
            </a:extLst>
          </p:cNvPr>
          <p:cNvSpPr txBox="1"/>
          <p:nvPr/>
        </p:nvSpPr>
        <p:spPr>
          <a:xfrm>
            <a:off x="574305" y="3791183"/>
            <a:ext cx="2743200" cy="12772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100">
                <a:solidFill>
                  <a:srgbClr val="242424"/>
                </a:solidFill>
                <a:latin typeface="-apple-system"/>
              </a:rPr>
              <a:t>Implementing               for</a:t>
            </a:r>
          </a:p>
          <a:p>
            <a:pPr marL="285750" indent="-285750">
              <a:buFont typeface="Arial"/>
              <a:buChar char="•"/>
            </a:pPr>
            <a:r>
              <a:rPr lang="en-US" sz="1100">
                <a:solidFill>
                  <a:srgbClr val="242424"/>
                </a:solidFill>
                <a:latin typeface="EONBrixSans"/>
              </a:rPr>
              <a:t>automated metadata management </a:t>
            </a:r>
            <a:endParaRPr lang="en-GB" sz="1100">
              <a:solidFill>
                <a:srgbClr val="000000"/>
              </a:solidFill>
              <a:latin typeface="EONBrixSans"/>
            </a:endParaRPr>
          </a:p>
          <a:p>
            <a:pPr marL="285750" indent="-285750">
              <a:buFont typeface="Arial"/>
              <a:buChar char="•"/>
            </a:pPr>
            <a:r>
              <a:rPr lang="en-US" sz="1100">
                <a:solidFill>
                  <a:srgbClr val="242424"/>
                </a:solidFill>
                <a:latin typeface="EONBrixSans"/>
              </a:rPr>
              <a:t>data harvesting </a:t>
            </a:r>
            <a:endParaRPr lang="en-GB" sz="1100">
              <a:solidFill>
                <a:srgbClr val="000000"/>
              </a:solidFill>
              <a:latin typeface="EONBrixSans"/>
            </a:endParaRPr>
          </a:p>
          <a:p>
            <a:pPr marL="285750" indent="-285750">
              <a:buFont typeface="Arial"/>
              <a:buChar char="•"/>
            </a:pPr>
            <a:r>
              <a:rPr lang="en-US" sz="1100">
                <a:solidFill>
                  <a:srgbClr val="242424"/>
                </a:solidFill>
                <a:latin typeface="EONBrixSans"/>
              </a:rPr>
              <a:t>improving GDPR-related processes</a:t>
            </a:r>
          </a:p>
          <a:p>
            <a:pPr marL="285750" indent="-285750">
              <a:buFont typeface="Arial"/>
              <a:buChar char="•"/>
            </a:pPr>
            <a:r>
              <a:rPr lang="en-US" sz="1100">
                <a:solidFill>
                  <a:srgbClr val="242424"/>
                </a:solidFill>
                <a:latin typeface="EONBrixSans"/>
              </a:rPr>
              <a:t>data lineage documentation</a:t>
            </a:r>
            <a:endParaRPr lang="en-GB" sz="1100">
              <a:solidFill>
                <a:srgbClr val="000000"/>
              </a:solidFill>
              <a:latin typeface="EONBrixSans"/>
            </a:endParaRPr>
          </a:p>
          <a:p>
            <a:pPr marL="285750" indent="-285750">
              <a:buFont typeface="Arial"/>
              <a:buChar char="•"/>
            </a:pPr>
            <a:r>
              <a:rPr lang="en-US" sz="1100">
                <a:solidFill>
                  <a:srgbClr val="242424"/>
                </a:solidFill>
                <a:latin typeface="EONBrixSans"/>
              </a:rPr>
              <a:t>impact analysis.</a:t>
            </a:r>
          </a:p>
          <a:p>
            <a:pPr marL="285750" indent="-285750">
              <a:buFont typeface="Arial"/>
              <a:buChar char="•"/>
            </a:pPr>
            <a:r>
              <a:rPr lang="en-US" sz="1100">
                <a:solidFill>
                  <a:srgbClr val="242424"/>
                </a:solidFill>
                <a:latin typeface="EONBrixSans"/>
              </a:rPr>
              <a:t>data model harmonization activities</a:t>
            </a:r>
          </a:p>
        </p:txBody>
      </p:sp>
      <p:pic>
        <p:nvPicPr>
          <p:cNvPr id="48" name="Picture 48" descr="Icon&#10;&#10;Description automatically generated">
            <a:extLst>
              <a:ext uri="{FF2B5EF4-FFF2-40B4-BE49-F238E27FC236}">
                <a16:creationId xmlns:a16="http://schemas.microsoft.com/office/drawing/2014/main" id="{AC94F7E3-9399-B26E-3BBE-C9B91FFB7D10}"/>
              </a:ext>
            </a:extLst>
          </p:cNvPr>
          <p:cNvPicPr>
            <a:picLocks noChangeAspect="1"/>
          </p:cNvPicPr>
          <p:nvPr/>
        </p:nvPicPr>
        <p:blipFill>
          <a:blip r:embed="rId6"/>
          <a:stretch>
            <a:fillRect/>
          </a:stretch>
        </p:blipFill>
        <p:spPr>
          <a:xfrm>
            <a:off x="1016077" y="2669219"/>
            <a:ext cx="600953" cy="590434"/>
          </a:xfrm>
          <a:prstGeom prst="rect">
            <a:avLst/>
          </a:prstGeom>
        </p:spPr>
      </p:pic>
      <p:pic>
        <p:nvPicPr>
          <p:cNvPr id="49" name="Picture 49" descr="Icon&#10;&#10;Description automatically generated">
            <a:extLst>
              <a:ext uri="{FF2B5EF4-FFF2-40B4-BE49-F238E27FC236}">
                <a16:creationId xmlns:a16="http://schemas.microsoft.com/office/drawing/2014/main" id="{46581324-4C53-9ED5-A251-7F6F5D35931B}"/>
              </a:ext>
            </a:extLst>
          </p:cNvPr>
          <p:cNvPicPr>
            <a:picLocks noChangeAspect="1"/>
          </p:cNvPicPr>
          <p:nvPr/>
        </p:nvPicPr>
        <p:blipFill>
          <a:blip r:embed="rId7"/>
          <a:stretch>
            <a:fillRect/>
          </a:stretch>
        </p:blipFill>
        <p:spPr>
          <a:xfrm>
            <a:off x="1994289" y="2444827"/>
            <a:ext cx="983121" cy="965591"/>
          </a:xfrm>
          <a:prstGeom prst="rect">
            <a:avLst/>
          </a:prstGeom>
        </p:spPr>
      </p:pic>
      <p:pic>
        <p:nvPicPr>
          <p:cNvPr id="50" name="Picture 50" descr="Icon&#10;&#10;Description automatically generated">
            <a:extLst>
              <a:ext uri="{FF2B5EF4-FFF2-40B4-BE49-F238E27FC236}">
                <a16:creationId xmlns:a16="http://schemas.microsoft.com/office/drawing/2014/main" id="{C3E183EB-EF9F-B004-4021-9898434EDB62}"/>
              </a:ext>
            </a:extLst>
          </p:cNvPr>
          <p:cNvPicPr>
            <a:picLocks noChangeAspect="1"/>
          </p:cNvPicPr>
          <p:nvPr/>
        </p:nvPicPr>
        <p:blipFill>
          <a:blip r:embed="rId8"/>
          <a:stretch>
            <a:fillRect/>
          </a:stretch>
        </p:blipFill>
        <p:spPr>
          <a:xfrm>
            <a:off x="3263511" y="2315101"/>
            <a:ext cx="1179464" cy="1179464"/>
          </a:xfrm>
          <a:prstGeom prst="rect">
            <a:avLst/>
          </a:prstGeom>
        </p:spPr>
      </p:pic>
      <p:pic>
        <p:nvPicPr>
          <p:cNvPr id="45" name="Picture 45" descr="A picture containing text, clipart&#10;&#10;Description automatically generated">
            <a:extLst>
              <a:ext uri="{FF2B5EF4-FFF2-40B4-BE49-F238E27FC236}">
                <a16:creationId xmlns:a16="http://schemas.microsoft.com/office/drawing/2014/main" id="{7FB40737-4F95-58C3-4DF6-492838853E3C}"/>
              </a:ext>
            </a:extLst>
          </p:cNvPr>
          <p:cNvPicPr>
            <a:picLocks noChangeAspect="1"/>
          </p:cNvPicPr>
          <p:nvPr/>
        </p:nvPicPr>
        <p:blipFill>
          <a:blip r:embed="rId9"/>
          <a:stretch>
            <a:fillRect/>
          </a:stretch>
        </p:blipFill>
        <p:spPr>
          <a:xfrm>
            <a:off x="1541998" y="3790507"/>
            <a:ext cx="527324" cy="230657"/>
          </a:xfrm>
          <a:prstGeom prst="rect">
            <a:avLst/>
          </a:prstGeom>
        </p:spPr>
      </p:pic>
      <p:sp>
        <p:nvSpPr>
          <p:cNvPr id="6" name="TextBox 5">
            <a:extLst>
              <a:ext uri="{FF2B5EF4-FFF2-40B4-BE49-F238E27FC236}">
                <a16:creationId xmlns:a16="http://schemas.microsoft.com/office/drawing/2014/main" id="{CE0B1FB0-AA45-9FFA-3425-A628EB3B1D2C}"/>
              </a:ext>
            </a:extLst>
          </p:cNvPr>
          <p:cNvSpPr txBox="1"/>
          <p:nvPr/>
        </p:nvSpPr>
        <p:spPr>
          <a:xfrm>
            <a:off x="504182" y="1568293"/>
            <a:ext cx="2981617"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800">
              <a:solidFill>
                <a:srgbClr val="242424"/>
              </a:solidFill>
              <a:latin typeface="-apple-system"/>
            </a:endParaRPr>
          </a:p>
        </p:txBody>
      </p:sp>
      <p:pic>
        <p:nvPicPr>
          <p:cNvPr id="12" name="Picture 24" descr="A picture containing text, clipart, vector graphics&#10;&#10;Description automatically generated">
            <a:extLst>
              <a:ext uri="{FF2B5EF4-FFF2-40B4-BE49-F238E27FC236}">
                <a16:creationId xmlns:a16="http://schemas.microsoft.com/office/drawing/2014/main" id="{2F7FF14F-041C-B9C6-723D-7DDFBD9A050B}"/>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5506575" y="2964422"/>
            <a:ext cx="499910" cy="499910"/>
          </a:xfrm>
          <a:prstGeom prst="rect">
            <a:avLst/>
          </a:prstGeom>
        </p:spPr>
      </p:pic>
    </p:spTree>
    <p:extLst>
      <p:ext uri="{BB962C8B-B14F-4D97-AF65-F5344CB8AC3E}">
        <p14:creationId xmlns:p14="http://schemas.microsoft.com/office/powerpoint/2010/main" val="1319830884"/>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hteck 10">
            <a:extLst>
              <a:ext uri="{FF2B5EF4-FFF2-40B4-BE49-F238E27FC236}">
                <a16:creationId xmlns:a16="http://schemas.microsoft.com/office/drawing/2014/main" id="{4F980CF2-23A7-45DB-8311-92B86DF5DC84}"/>
              </a:ext>
            </a:extLst>
          </p:cNvPr>
          <p:cNvSpPr/>
          <p:nvPr/>
        </p:nvSpPr>
        <p:spPr>
          <a:xfrm>
            <a:off x="-8818" y="-4663"/>
            <a:ext cx="302818" cy="5152925"/>
          </a:xfrm>
          <a:prstGeom prst="rect">
            <a:avLst/>
          </a:prstGeom>
          <a:solidFill>
            <a:srgbClr val="5CC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pic>
        <p:nvPicPr>
          <p:cNvPr id="8194" name="Picture 2">
            <a:extLst>
              <a:ext uri="{FF2B5EF4-FFF2-40B4-BE49-F238E27FC236}">
                <a16:creationId xmlns:a16="http://schemas.microsoft.com/office/drawing/2014/main" id="{A813ADBE-F6E6-483F-9A71-C43C2A0099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95919" y="2177852"/>
            <a:ext cx="3319585" cy="1847815"/>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 17">
            <a:extLst>
              <a:ext uri="{FF2B5EF4-FFF2-40B4-BE49-F238E27FC236}">
                <a16:creationId xmlns:a16="http://schemas.microsoft.com/office/drawing/2014/main" id="{CA6643B9-B74B-4A1F-BCDF-4D7AC36CF48C}"/>
              </a:ext>
            </a:extLst>
          </p:cNvPr>
          <p:cNvGrpSpPr/>
          <p:nvPr/>
        </p:nvGrpSpPr>
        <p:grpSpPr>
          <a:xfrm>
            <a:off x="4506581" y="2682353"/>
            <a:ext cx="4276268" cy="806198"/>
            <a:chOff x="4506581" y="3427701"/>
            <a:chExt cx="4276268" cy="806198"/>
          </a:xfrm>
        </p:grpSpPr>
        <p:grpSp>
          <p:nvGrpSpPr>
            <p:cNvPr id="4" name="Group 4"/>
            <p:cNvGrpSpPr/>
            <p:nvPr/>
          </p:nvGrpSpPr>
          <p:grpSpPr>
            <a:xfrm>
              <a:off x="5165977" y="3427701"/>
              <a:ext cx="3616872" cy="806198"/>
              <a:chOff x="0" y="1"/>
              <a:chExt cx="4229655" cy="748716"/>
            </a:xfrm>
          </p:grpSpPr>
          <p:sp>
            <p:nvSpPr>
              <p:cNvPr id="5" name="Freeform 5"/>
              <p:cNvSpPr/>
              <p:nvPr/>
            </p:nvSpPr>
            <p:spPr>
              <a:xfrm>
                <a:off x="0" y="1"/>
                <a:ext cx="4229655" cy="748716"/>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3" name="TextBox 33"/>
            <p:cNvSpPr txBox="1"/>
            <p:nvPr/>
          </p:nvSpPr>
          <p:spPr>
            <a:xfrm>
              <a:off x="5329683" y="3461153"/>
              <a:ext cx="3453166" cy="667362"/>
            </a:xfrm>
            <a:prstGeom prst="rect">
              <a:avLst/>
            </a:prstGeom>
          </p:spPr>
          <p:txBody>
            <a:bodyPr wrap="square" lIns="0" tIns="0" rIns="0" bIns="0" rtlCol="0" anchor="t">
              <a:spAutoFit/>
            </a:bodyPr>
            <a:lstStyle/>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Having an Expert Community is a catalyst for innovation</a:t>
              </a:r>
            </a:p>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The Community is taking on a new dimension every day </a:t>
              </a:r>
            </a:p>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We encourage cross-country expertise sharing </a:t>
              </a:r>
            </a:p>
          </p:txBody>
        </p:sp>
        <p:pic>
          <p:nvPicPr>
            <p:cNvPr id="17" name="Picture 16">
              <a:extLst>
                <a:ext uri="{FF2B5EF4-FFF2-40B4-BE49-F238E27FC236}">
                  <a16:creationId xmlns:a16="http://schemas.microsoft.com/office/drawing/2014/main" id="{837A6F86-5625-4CD7-866D-81CCC1A102F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506581" y="3459185"/>
              <a:ext cx="743229" cy="743229"/>
            </a:xfrm>
            <a:prstGeom prst="rect">
              <a:avLst/>
            </a:prstGeom>
          </p:spPr>
        </p:pic>
      </p:grpSp>
      <p:grpSp>
        <p:nvGrpSpPr>
          <p:cNvPr id="20" name="Group 19">
            <a:extLst>
              <a:ext uri="{FF2B5EF4-FFF2-40B4-BE49-F238E27FC236}">
                <a16:creationId xmlns:a16="http://schemas.microsoft.com/office/drawing/2014/main" id="{53A760A3-EBA9-41CA-A1CC-D0D4AF6CF957}"/>
              </a:ext>
            </a:extLst>
          </p:cNvPr>
          <p:cNvGrpSpPr/>
          <p:nvPr/>
        </p:nvGrpSpPr>
        <p:grpSpPr>
          <a:xfrm>
            <a:off x="4506581" y="1613163"/>
            <a:ext cx="4276268" cy="953305"/>
            <a:chOff x="4506581" y="1782211"/>
            <a:chExt cx="4276268" cy="953305"/>
          </a:xfrm>
        </p:grpSpPr>
        <p:grpSp>
          <p:nvGrpSpPr>
            <p:cNvPr id="2" name="Group 2"/>
            <p:cNvGrpSpPr/>
            <p:nvPr/>
          </p:nvGrpSpPr>
          <p:grpSpPr>
            <a:xfrm>
              <a:off x="5165976" y="1782211"/>
              <a:ext cx="3616873" cy="953305"/>
              <a:chOff x="-1" y="1"/>
              <a:chExt cx="4229657" cy="1114817"/>
            </a:xfrm>
          </p:grpSpPr>
          <p:sp>
            <p:nvSpPr>
              <p:cNvPr id="3" name="Freeform 3"/>
              <p:cNvSpPr/>
              <p:nvPr/>
            </p:nvSpPr>
            <p:spPr>
              <a:xfrm>
                <a:off x="-1" y="1"/>
                <a:ext cx="4229657" cy="1114817"/>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2" name="TextBox 32"/>
            <p:cNvSpPr txBox="1"/>
            <p:nvPr/>
          </p:nvSpPr>
          <p:spPr>
            <a:xfrm>
              <a:off x="5340449" y="1925182"/>
              <a:ext cx="3442400" cy="667362"/>
            </a:xfrm>
            <a:prstGeom prst="rect">
              <a:avLst/>
            </a:prstGeom>
          </p:spPr>
          <p:txBody>
            <a:bodyPr wrap="square" lIns="0" tIns="0" rIns="0" bIns="0" rtlCol="0" anchor="t">
              <a:spAutoFit/>
            </a:bodyPr>
            <a:lstStyle/>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When you have a business case, you can ensure that the business or project is aligned to strategy</a:t>
              </a:r>
            </a:p>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You can allow progress and outcomes to be tracked</a:t>
              </a:r>
            </a:p>
          </p:txBody>
        </p:sp>
        <p:pic>
          <p:nvPicPr>
            <p:cNvPr id="19" name="Picture 18">
              <a:extLst>
                <a:ext uri="{FF2B5EF4-FFF2-40B4-BE49-F238E27FC236}">
                  <a16:creationId xmlns:a16="http://schemas.microsoft.com/office/drawing/2014/main" id="{B2F50FF9-9BAD-4D74-AC1E-E883E7D58E7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506581" y="1878344"/>
              <a:ext cx="743229" cy="743229"/>
            </a:xfrm>
            <a:prstGeom prst="rect">
              <a:avLst/>
            </a:prstGeom>
          </p:spPr>
        </p:pic>
      </p:grpSp>
      <p:grpSp>
        <p:nvGrpSpPr>
          <p:cNvPr id="16" name="Group 15">
            <a:extLst>
              <a:ext uri="{FF2B5EF4-FFF2-40B4-BE49-F238E27FC236}">
                <a16:creationId xmlns:a16="http://schemas.microsoft.com/office/drawing/2014/main" id="{60D8888A-8B57-42CC-8A64-68CB76EB6567}"/>
              </a:ext>
            </a:extLst>
          </p:cNvPr>
          <p:cNvGrpSpPr/>
          <p:nvPr/>
        </p:nvGrpSpPr>
        <p:grpSpPr>
          <a:xfrm>
            <a:off x="1862618" y="99742"/>
            <a:ext cx="5418764" cy="1369122"/>
            <a:chOff x="1465255" y="101748"/>
            <a:chExt cx="5418764" cy="1369122"/>
          </a:xfrm>
        </p:grpSpPr>
        <p:grpSp>
          <p:nvGrpSpPr>
            <p:cNvPr id="8" name="Group 8"/>
            <p:cNvGrpSpPr/>
            <p:nvPr/>
          </p:nvGrpSpPr>
          <p:grpSpPr>
            <a:xfrm>
              <a:off x="2105425" y="321172"/>
              <a:ext cx="4458945" cy="1149698"/>
              <a:chOff x="-3994418" y="2"/>
              <a:chExt cx="11890519" cy="3065861"/>
            </a:xfrm>
          </p:grpSpPr>
          <p:grpSp>
            <p:nvGrpSpPr>
              <p:cNvPr id="9" name="Group 9"/>
              <p:cNvGrpSpPr/>
              <p:nvPr/>
            </p:nvGrpSpPr>
            <p:grpSpPr>
              <a:xfrm>
                <a:off x="-3994418" y="2"/>
                <a:ext cx="11890519" cy="3065861"/>
                <a:chOff x="-1751688" y="1"/>
                <a:chExt cx="5214396" cy="1344484"/>
              </a:xfrm>
            </p:grpSpPr>
            <p:sp>
              <p:nvSpPr>
                <p:cNvPr id="10" name="Freeform 10"/>
                <p:cNvSpPr/>
                <p:nvPr/>
              </p:nvSpPr>
              <p:spPr>
                <a:xfrm>
                  <a:off x="-1751688" y="1"/>
                  <a:ext cx="5214396" cy="1344484"/>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11" name="TextBox 11"/>
              <p:cNvSpPr txBox="1"/>
              <p:nvPr/>
            </p:nvSpPr>
            <p:spPr>
              <a:xfrm>
                <a:off x="-2916317" y="482818"/>
                <a:ext cx="10340535" cy="1477328"/>
              </a:xfrm>
              <a:prstGeom prst="rect">
                <a:avLst/>
              </a:prstGeom>
            </p:spPr>
            <p:txBody>
              <a:bodyPr wrap="square" lIns="0" tIns="0" rIns="0" bIns="0" rtlCol="0" anchor="t">
                <a:spAutoFit/>
              </a:bodyPr>
              <a:lstStyle/>
              <a:p>
                <a:pPr algn="ctr">
                  <a:spcBef>
                    <a:spcPct val="0"/>
                  </a:spcBef>
                </a:pPr>
                <a:r>
                  <a:rPr lang="en-US" sz="1800" i="1">
                    <a:solidFill>
                      <a:srgbClr val="5CC1CB"/>
                    </a:solidFill>
                    <a:latin typeface="+mn-lt"/>
                  </a:rPr>
                  <a:t>“Strive not to be a success, but rather to be of value.”</a:t>
                </a:r>
              </a:p>
            </p:txBody>
          </p:sp>
        </p:grpSp>
        <p:sp>
          <p:nvSpPr>
            <p:cNvPr id="36" name="TextBox 11">
              <a:extLst>
                <a:ext uri="{FF2B5EF4-FFF2-40B4-BE49-F238E27FC236}">
                  <a16:creationId xmlns:a16="http://schemas.microsoft.com/office/drawing/2014/main" id="{5364C3E7-86E2-4AAF-B675-56D6668A677C}"/>
                </a:ext>
              </a:extLst>
            </p:cNvPr>
            <p:cNvSpPr txBox="1"/>
            <p:nvPr/>
          </p:nvSpPr>
          <p:spPr>
            <a:xfrm>
              <a:off x="4448563" y="1083425"/>
              <a:ext cx="2435456" cy="215444"/>
            </a:xfrm>
            <a:prstGeom prst="rect">
              <a:avLst/>
            </a:prstGeom>
          </p:spPr>
          <p:txBody>
            <a:bodyPr wrap="square" lIns="0" tIns="0" rIns="0" bIns="0" rtlCol="0" anchor="t">
              <a:spAutoFit/>
            </a:bodyPr>
            <a:lstStyle/>
            <a:p>
              <a:pPr algn="ctr">
                <a:spcBef>
                  <a:spcPct val="0"/>
                </a:spcBef>
              </a:pPr>
              <a:r>
                <a:rPr lang="en-US">
                  <a:solidFill>
                    <a:srgbClr val="5CC1CB"/>
                  </a:solidFill>
                  <a:latin typeface="+mn-lt"/>
                </a:rPr>
                <a:t>Albert Einstein</a:t>
              </a:r>
            </a:p>
          </p:txBody>
        </p:sp>
        <p:grpSp>
          <p:nvGrpSpPr>
            <p:cNvPr id="41" name="Group 40">
              <a:extLst>
                <a:ext uri="{FF2B5EF4-FFF2-40B4-BE49-F238E27FC236}">
                  <a16:creationId xmlns:a16="http://schemas.microsoft.com/office/drawing/2014/main" id="{F8256585-EAAB-43EA-8987-6FFA39455690}"/>
                </a:ext>
              </a:extLst>
            </p:cNvPr>
            <p:cNvGrpSpPr/>
            <p:nvPr/>
          </p:nvGrpSpPr>
          <p:grpSpPr>
            <a:xfrm>
              <a:off x="1465255" y="101748"/>
              <a:ext cx="901544" cy="802125"/>
              <a:chOff x="471329" y="286473"/>
              <a:chExt cx="901544" cy="802125"/>
            </a:xfrm>
          </p:grpSpPr>
          <p:grpSp>
            <p:nvGrpSpPr>
              <p:cNvPr id="13" name="Group 13"/>
              <p:cNvGrpSpPr/>
              <p:nvPr/>
            </p:nvGrpSpPr>
            <p:grpSpPr>
              <a:xfrm>
                <a:off x="471329" y="286473"/>
                <a:ext cx="901544" cy="802125"/>
                <a:chOff x="0" y="0"/>
                <a:chExt cx="2356214" cy="671539"/>
              </a:xfrm>
            </p:grpSpPr>
            <p:sp>
              <p:nvSpPr>
                <p:cNvPr id="14" name="Freeform 14"/>
                <p:cNvSpPr/>
                <p:nvPr/>
              </p:nvSpPr>
              <p:spPr>
                <a:xfrm>
                  <a:off x="0" y="0"/>
                  <a:ext cx="2356215" cy="671539"/>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rgbClr val="5CC1CB"/>
                </a:solidFill>
              </p:spPr>
            </p:sp>
          </p:grpSp>
          <p:pic>
            <p:nvPicPr>
              <p:cNvPr id="40" name="Picture 39" descr="Icon&#10;&#10;Description automatically generated">
                <a:extLst>
                  <a:ext uri="{FF2B5EF4-FFF2-40B4-BE49-F238E27FC236}">
                    <a16:creationId xmlns:a16="http://schemas.microsoft.com/office/drawing/2014/main" id="{79975523-7A12-4E57-B3D9-F0E22297C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196" y="315707"/>
                <a:ext cx="743656" cy="743656"/>
              </a:xfrm>
              <a:prstGeom prst="rect">
                <a:avLst/>
              </a:prstGeom>
            </p:spPr>
          </p:pic>
        </p:grpSp>
      </p:grpSp>
      <p:grpSp>
        <p:nvGrpSpPr>
          <p:cNvPr id="28" name="Group 27">
            <a:extLst>
              <a:ext uri="{FF2B5EF4-FFF2-40B4-BE49-F238E27FC236}">
                <a16:creationId xmlns:a16="http://schemas.microsoft.com/office/drawing/2014/main" id="{EB420234-A86C-4722-B935-A13886A1FBC5}"/>
              </a:ext>
            </a:extLst>
          </p:cNvPr>
          <p:cNvGrpSpPr/>
          <p:nvPr/>
        </p:nvGrpSpPr>
        <p:grpSpPr>
          <a:xfrm>
            <a:off x="4504600" y="3605184"/>
            <a:ext cx="4278248" cy="1281861"/>
            <a:chOff x="4486170" y="1782211"/>
            <a:chExt cx="4278248" cy="1281861"/>
          </a:xfrm>
        </p:grpSpPr>
        <p:grpSp>
          <p:nvGrpSpPr>
            <p:cNvPr id="29" name="Group 2">
              <a:extLst>
                <a:ext uri="{FF2B5EF4-FFF2-40B4-BE49-F238E27FC236}">
                  <a16:creationId xmlns:a16="http://schemas.microsoft.com/office/drawing/2014/main" id="{C7CF1D6F-7704-4932-B088-36949B1E716C}"/>
                </a:ext>
              </a:extLst>
            </p:cNvPr>
            <p:cNvGrpSpPr/>
            <p:nvPr/>
          </p:nvGrpSpPr>
          <p:grpSpPr>
            <a:xfrm>
              <a:off x="5147546" y="1782211"/>
              <a:ext cx="3616872" cy="1281861"/>
              <a:chOff x="-21554" y="1"/>
              <a:chExt cx="4229656" cy="1499038"/>
            </a:xfrm>
          </p:grpSpPr>
          <p:sp>
            <p:nvSpPr>
              <p:cNvPr id="34" name="Freeform 3">
                <a:extLst>
                  <a:ext uri="{FF2B5EF4-FFF2-40B4-BE49-F238E27FC236}">
                    <a16:creationId xmlns:a16="http://schemas.microsoft.com/office/drawing/2014/main" id="{0E63A498-95F4-409B-8088-3A428CE0D848}"/>
                  </a:ext>
                </a:extLst>
              </p:cNvPr>
              <p:cNvSpPr/>
              <p:nvPr/>
            </p:nvSpPr>
            <p:spPr>
              <a:xfrm>
                <a:off x="-21554" y="1"/>
                <a:ext cx="4229656" cy="1499038"/>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30" name="TextBox 32">
              <a:extLst>
                <a:ext uri="{FF2B5EF4-FFF2-40B4-BE49-F238E27FC236}">
                  <a16:creationId xmlns:a16="http://schemas.microsoft.com/office/drawing/2014/main" id="{38D3F8EC-E66D-4957-878B-B01240227C28}"/>
                </a:ext>
              </a:extLst>
            </p:cNvPr>
            <p:cNvSpPr txBox="1"/>
            <p:nvPr/>
          </p:nvSpPr>
          <p:spPr>
            <a:xfrm>
              <a:off x="5311253" y="1848342"/>
              <a:ext cx="3453165" cy="1129027"/>
            </a:xfrm>
            <a:prstGeom prst="rect">
              <a:avLst/>
            </a:prstGeom>
          </p:spPr>
          <p:txBody>
            <a:bodyPr wrap="square" lIns="0" tIns="0" rIns="0" bIns="0" rtlCol="0" anchor="t">
              <a:spAutoFit/>
            </a:bodyPr>
            <a:lstStyle/>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When GDPR came into practice, we had to make it workable</a:t>
              </a:r>
            </a:p>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Being GDPR ready requires the involvement and cooperation of the entire organization to take compliance with the GDPR from theory to practice. </a:t>
              </a:r>
            </a:p>
          </p:txBody>
        </p:sp>
        <p:pic>
          <p:nvPicPr>
            <p:cNvPr id="31" name="Picture 30">
              <a:extLst>
                <a:ext uri="{FF2B5EF4-FFF2-40B4-BE49-F238E27FC236}">
                  <a16:creationId xmlns:a16="http://schemas.microsoft.com/office/drawing/2014/main" id="{93A7E393-DB50-4137-9B2A-1F4DF222D5D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486170" y="2051526"/>
              <a:ext cx="743229" cy="743229"/>
            </a:xfrm>
            <a:prstGeom prst="rect">
              <a:avLst/>
            </a:prstGeom>
          </p:spPr>
        </p:pic>
      </p:grpSp>
    </p:spTree>
    <p:extLst>
      <p:ext uri="{BB962C8B-B14F-4D97-AF65-F5344CB8AC3E}">
        <p14:creationId xmlns:p14="http://schemas.microsoft.com/office/powerpoint/2010/main" val="432234890"/>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5078512" y="2243465"/>
            <a:ext cx="3463674" cy="768450"/>
            <a:chOff x="0" y="1"/>
            <a:chExt cx="4050502" cy="898643"/>
          </a:xfrm>
        </p:grpSpPr>
        <p:sp>
          <p:nvSpPr>
            <p:cNvPr id="3" name="Freeform 3"/>
            <p:cNvSpPr/>
            <p:nvPr/>
          </p:nvSpPr>
          <p:spPr>
            <a:xfrm>
              <a:off x="0" y="1"/>
              <a:ext cx="4050502" cy="898643"/>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E3E000"/>
              </a:solidFill>
            </a:ln>
          </p:spPr>
          <p:style>
            <a:lnRef idx="2">
              <a:schemeClr val="accent1"/>
            </a:lnRef>
            <a:fillRef idx="1">
              <a:schemeClr val="lt1"/>
            </a:fillRef>
            <a:effectRef idx="0">
              <a:schemeClr val="accent1"/>
            </a:effectRef>
            <a:fontRef idx="minor">
              <a:schemeClr val="dk1"/>
            </a:fontRef>
          </p:style>
        </p:sp>
      </p:grpSp>
      <p:grpSp>
        <p:nvGrpSpPr>
          <p:cNvPr id="4" name="Group 4"/>
          <p:cNvGrpSpPr/>
          <p:nvPr/>
        </p:nvGrpSpPr>
        <p:grpSpPr>
          <a:xfrm>
            <a:off x="5078512" y="3174342"/>
            <a:ext cx="3463674" cy="1702458"/>
            <a:chOff x="0" y="0"/>
            <a:chExt cx="4050502" cy="1076981"/>
          </a:xfrm>
        </p:grpSpPr>
        <p:sp>
          <p:nvSpPr>
            <p:cNvPr id="5" name="Freeform 5"/>
            <p:cNvSpPr/>
            <p:nvPr/>
          </p:nvSpPr>
          <p:spPr>
            <a:xfrm>
              <a:off x="0" y="0"/>
              <a:ext cx="4050502" cy="1076981"/>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E3E000"/>
              </a:solidFill>
            </a:ln>
          </p:spPr>
          <p:style>
            <a:lnRef idx="2">
              <a:schemeClr val="accent1"/>
            </a:lnRef>
            <a:fillRef idx="1">
              <a:schemeClr val="lt1"/>
            </a:fillRef>
            <a:effectRef idx="0">
              <a:schemeClr val="accent1"/>
            </a:effectRef>
            <a:fontRef idx="minor">
              <a:schemeClr val="dk1"/>
            </a:fontRef>
          </p:style>
        </p:sp>
      </p:grpSp>
      <p:sp>
        <p:nvSpPr>
          <p:cNvPr id="32" name="TextBox 32"/>
          <p:cNvSpPr txBox="1"/>
          <p:nvPr/>
        </p:nvSpPr>
        <p:spPr>
          <a:xfrm>
            <a:off x="5252985" y="2385378"/>
            <a:ext cx="3196799" cy="436530"/>
          </a:xfrm>
          <a:prstGeom prst="rect">
            <a:avLst/>
          </a:prstGeom>
        </p:spPr>
        <p:txBody>
          <a:bodyPr wrap="square" lIns="0" tIns="0" rIns="0" bIns="0" rtlCol="0" anchor="t">
            <a:spAutoFit/>
          </a:bodyPr>
          <a:lstStyle/>
          <a:p>
            <a:pPr marL="179388" indent="-179387">
              <a:lnSpc>
                <a:spcPts val="1754"/>
              </a:lnSpc>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After things fell into place, we enlarged our focus topics which allowed us to grow exponentially  </a:t>
            </a:r>
          </a:p>
        </p:txBody>
      </p:sp>
      <p:sp>
        <p:nvSpPr>
          <p:cNvPr id="33" name="TextBox 33"/>
          <p:cNvSpPr txBox="1"/>
          <p:nvPr/>
        </p:nvSpPr>
        <p:spPr>
          <a:xfrm>
            <a:off x="5252985" y="3272012"/>
            <a:ext cx="3075987" cy="1359859"/>
          </a:xfrm>
          <a:prstGeom prst="rect">
            <a:avLst/>
          </a:prstGeom>
        </p:spPr>
        <p:txBody>
          <a:bodyPr wrap="square" lIns="0" tIns="0" rIns="0" bIns="0" rtlCol="0" anchor="t">
            <a:spAutoFit/>
          </a:bodyPr>
          <a:lstStyle/>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Scalability stays an essential component of the last years. We made sure that the quality of services is maintained even if the number of BU or users went up or the complexity of the business increased.  </a:t>
            </a:r>
          </a:p>
          <a:p>
            <a:pPr marL="179388" indent="-179387">
              <a:lnSpc>
                <a:spcPts val="1754"/>
              </a:lnSpc>
              <a:spcBef>
                <a:spcPct val="0"/>
              </a:spcBef>
              <a:buClr>
                <a:srgbClr val="141414"/>
              </a:buClr>
              <a:buSzPct val="100000"/>
              <a:buFont typeface="Arial" panose="020B0604020202020204" pitchFamily="34" charset="0"/>
              <a:buChar char="•"/>
            </a:pPr>
            <a:r>
              <a:rPr lang="en-US" sz="1100">
                <a:solidFill>
                  <a:srgbClr val="141414"/>
                </a:solidFill>
                <a:latin typeface="EON Brix Sans Medium" panose="020B0600000000000000" pitchFamily="34" charset="0"/>
              </a:rPr>
              <a:t>EON Data House is being used for creating a fundament for efficient data management</a:t>
            </a:r>
          </a:p>
        </p:txBody>
      </p:sp>
      <p:sp>
        <p:nvSpPr>
          <p:cNvPr id="37" name="Rechteck 10">
            <a:extLst>
              <a:ext uri="{FF2B5EF4-FFF2-40B4-BE49-F238E27FC236}">
                <a16:creationId xmlns:a16="http://schemas.microsoft.com/office/drawing/2014/main" id="{4F980CF2-23A7-45DB-8311-92B86DF5DC84}"/>
              </a:ext>
            </a:extLst>
          </p:cNvPr>
          <p:cNvSpPr/>
          <p:nvPr/>
        </p:nvSpPr>
        <p:spPr>
          <a:xfrm>
            <a:off x="-8818" y="-4663"/>
            <a:ext cx="302818" cy="5152925"/>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pic>
        <p:nvPicPr>
          <p:cNvPr id="8194" name="Picture 2">
            <a:extLst>
              <a:ext uri="{FF2B5EF4-FFF2-40B4-BE49-F238E27FC236}">
                <a16:creationId xmlns:a16="http://schemas.microsoft.com/office/drawing/2014/main" id="{A813ADBE-F6E6-483F-9A71-C43C2A0099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815028" y="2092243"/>
            <a:ext cx="2811576" cy="22417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37A6F86-5625-4CD7-866D-81CCC1A102FC}"/>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397299" y="3369949"/>
            <a:ext cx="768450" cy="768450"/>
          </a:xfrm>
          <a:prstGeom prst="rect">
            <a:avLst/>
          </a:prstGeom>
        </p:spPr>
      </p:pic>
      <p:pic>
        <p:nvPicPr>
          <p:cNvPr id="19" name="Picture 18">
            <a:extLst>
              <a:ext uri="{FF2B5EF4-FFF2-40B4-BE49-F238E27FC236}">
                <a16:creationId xmlns:a16="http://schemas.microsoft.com/office/drawing/2014/main" id="{B2F50FF9-9BAD-4D74-AC1E-E883E7D58E7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97299" y="2243465"/>
            <a:ext cx="768450" cy="768450"/>
          </a:xfrm>
          <a:prstGeom prst="rect">
            <a:avLst/>
          </a:prstGeom>
        </p:spPr>
      </p:pic>
      <p:grpSp>
        <p:nvGrpSpPr>
          <p:cNvPr id="24" name="Group 23">
            <a:extLst>
              <a:ext uri="{FF2B5EF4-FFF2-40B4-BE49-F238E27FC236}">
                <a16:creationId xmlns:a16="http://schemas.microsoft.com/office/drawing/2014/main" id="{5EFBD947-EFEF-4CC9-9856-BFC0E674032C}"/>
              </a:ext>
            </a:extLst>
          </p:cNvPr>
          <p:cNvGrpSpPr/>
          <p:nvPr/>
        </p:nvGrpSpPr>
        <p:grpSpPr>
          <a:xfrm>
            <a:off x="2002821" y="109362"/>
            <a:ext cx="5138358" cy="1556921"/>
            <a:chOff x="1319272" y="123138"/>
            <a:chExt cx="5138358" cy="1556921"/>
          </a:xfrm>
        </p:grpSpPr>
        <p:grpSp>
          <p:nvGrpSpPr>
            <p:cNvPr id="8" name="Group 8"/>
            <p:cNvGrpSpPr/>
            <p:nvPr/>
          </p:nvGrpSpPr>
          <p:grpSpPr>
            <a:xfrm>
              <a:off x="2059321" y="421310"/>
              <a:ext cx="3907735" cy="1258749"/>
              <a:chOff x="-2980326" y="0"/>
              <a:chExt cx="10420626" cy="3356664"/>
            </a:xfrm>
          </p:grpSpPr>
          <p:grpSp>
            <p:nvGrpSpPr>
              <p:cNvPr id="9" name="Group 9"/>
              <p:cNvGrpSpPr/>
              <p:nvPr/>
            </p:nvGrpSpPr>
            <p:grpSpPr>
              <a:xfrm>
                <a:off x="-2980326" y="0"/>
                <a:ext cx="10420626" cy="3356664"/>
                <a:chOff x="-1306974" y="0"/>
                <a:chExt cx="4569798" cy="1472011"/>
              </a:xfrm>
            </p:grpSpPr>
            <p:sp>
              <p:nvSpPr>
                <p:cNvPr id="10" name="Freeform 10"/>
                <p:cNvSpPr/>
                <p:nvPr/>
              </p:nvSpPr>
              <p:spPr>
                <a:xfrm>
                  <a:off x="-1306974" y="0"/>
                  <a:ext cx="4569798" cy="1472011"/>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11" name="TextBox 11"/>
              <p:cNvSpPr txBox="1"/>
              <p:nvPr/>
            </p:nvSpPr>
            <p:spPr>
              <a:xfrm>
                <a:off x="-1017289" y="967184"/>
                <a:ext cx="6494549" cy="984885"/>
              </a:xfrm>
              <a:prstGeom prst="rect">
                <a:avLst/>
              </a:prstGeom>
            </p:spPr>
            <p:txBody>
              <a:bodyPr lIns="0" tIns="0" rIns="0" bIns="0" rtlCol="0" anchor="t">
                <a:spAutoFit/>
              </a:bodyPr>
              <a:lstStyle/>
              <a:p>
                <a:pPr algn="ctr">
                  <a:spcBef>
                    <a:spcPct val="0"/>
                  </a:spcBef>
                </a:pPr>
                <a:r>
                  <a:rPr lang="en-US" sz="2400" i="1">
                    <a:solidFill>
                      <a:schemeClr val="accent4">
                        <a:lumMod val="75000"/>
                      </a:schemeClr>
                    </a:solidFill>
                    <a:latin typeface="+mn-lt"/>
                  </a:rPr>
                  <a:t>“Make it happen.”</a:t>
                </a:r>
              </a:p>
            </p:txBody>
          </p:sp>
        </p:grpSp>
        <p:sp>
          <p:nvSpPr>
            <p:cNvPr id="36" name="TextBox 11">
              <a:extLst>
                <a:ext uri="{FF2B5EF4-FFF2-40B4-BE49-F238E27FC236}">
                  <a16:creationId xmlns:a16="http://schemas.microsoft.com/office/drawing/2014/main" id="{5364C3E7-86E2-4AAF-B675-56D6668A677C}"/>
                </a:ext>
              </a:extLst>
            </p:cNvPr>
            <p:cNvSpPr txBox="1"/>
            <p:nvPr/>
          </p:nvSpPr>
          <p:spPr>
            <a:xfrm>
              <a:off x="4022174" y="1327604"/>
              <a:ext cx="2435456" cy="215444"/>
            </a:xfrm>
            <a:prstGeom prst="rect">
              <a:avLst/>
            </a:prstGeom>
          </p:spPr>
          <p:txBody>
            <a:bodyPr wrap="square" lIns="0" tIns="0" rIns="0" bIns="0" rtlCol="0" anchor="t">
              <a:spAutoFit/>
            </a:bodyPr>
            <a:lstStyle/>
            <a:p>
              <a:pPr algn="ctr">
                <a:spcBef>
                  <a:spcPct val="0"/>
                </a:spcBef>
              </a:pPr>
              <a:r>
                <a:rPr lang="en-US">
                  <a:solidFill>
                    <a:schemeClr val="accent4">
                      <a:lumMod val="75000"/>
                    </a:schemeClr>
                  </a:solidFill>
                  <a:latin typeface="+mn-lt"/>
                </a:rPr>
                <a:t>Michael Jordan</a:t>
              </a:r>
            </a:p>
          </p:txBody>
        </p:sp>
        <p:grpSp>
          <p:nvGrpSpPr>
            <p:cNvPr id="41" name="Group 40">
              <a:extLst>
                <a:ext uri="{FF2B5EF4-FFF2-40B4-BE49-F238E27FC236}">
                  <a16:creationId xmlns:a16="http://schemas.microsoft.com/office/drawing/2014/main" id="{F8256585-EAAB-43EA-8987-6FFA39455690}"/>
                </a:ext>
              </a:extLst>
            </p:cNvPr>
            <p:cNvGrpSpPr/>
            <p:nvPr/>
          </p:nvGrpSpPr>
          <p:grpSpPr>
            <a:xfrm>
              <a:off x="1319272" y="123138"/>
              <a:ext cx="901544" cy="802125"/>
              <a:chOff x="471329" y="286473"/>
              <a:chExt cx="901544" cy="802125"/>
            </a:xfrm>
          </p:grpSpPr>
          <p:grpSp>
            <p:nvGrpSpPr>
              <p:cNvPr id="13" name="Group 13"/>
              <p:cNvGrpSpPr/>
              <p:nvPr/>
            </p:nvGrpSpPr>
            <p:grpSpPr>
              <a:xfrm>
                <a:off x="471329" y="286473"/>
                <a:ext cx="901544" cy="802125"/>
                <a:chOff x="0" y="0"/>
                <a:chExt cx="2356214" cy="671539"/>
              </a:xfrm>
            </p:grpSpPr>
            <p:sp>
              <p:nvSpPr>
                <p:cNvPr id="14" name="Freeform 14"/>
                <p:cNvSpPr/>
                <p:nvPr/>
              </p:nvSpPr>
              <p:spPr>
                <a:xfrm>
                  <a:off x="0" y="0"/>
                  <a:ext cx="2356215" cy="671539"/>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rgbClr val="E3E000"/>
                </a:solidFill>
              </p:spPr>
              <p:txBody>
                <a:bodyPr/>
                <a:lstStyle/>
                <a:p>
                  <a:endParaRPr lang="en-US"/>
                </a:p>
              </p:txBody>
            </p:sp>
          </p:grpSp>
          <p:pic>
            <p:nvPicPr>
              <p:cNvPr id="40" name="Picture 39" descr="Icon&#10;&#10;Description automatically generated">
                <a:extLst>
                  <a:ext uri="{FF2B5EF4-FFF2-40B4-BE49-F238E27FC236}">
                    <a16:creationId xmlns:a16="http://schemas.microsoft.com/office/drawing/2014/main" id="{79975523-7A12-4E57-B3D9-F0E22297C4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5196" y="315707"/>
                <a:ext cx="743656" cy="743656"/>
              </a:xfrm>
              <a:prstGeom prst="rect">
                <a:avLst/>
              </a:prstGeom>
            </p:spPr>
          </p:pic>
        </p:grpSp>
      </p:grpSp>
    </p:spTree>
    <p:extLst>
      <p:ext uri="{BB962C8B-B14F-4D97-AF65-F5344CB8AC3E}">
        <p14:creationId xmlns:p14="http://schemas.microsoft.com/office/powerpoint/2010/main" val="4034841113"/>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93E94A4-B4E7-1FBB-79BE-16442591F881}"/>
              </a:ext>
            </a:extLst>
          </p:cNvPr>
          <p:cNvGrpSpPr/>
          <p:nvPr/>
        </p:nvGrpSpPr>
        <p:grpSpPr>
          <a:xfrm>
            <a:off x="1712076" y="211984"/>
            <a:ext cx="5962339" cy="1492121"/>
            <a:chOff x="1316643" y="155749"/>
            <a:chExt cx="5962339" cy="1492121"/>
          </a:xfrm>
        </p:grpSpPr>
        <p:grpSp>
          <p:nvGrpSpPr>
            <p:cNvPr id="3" name="Group 2">
              <a:extLst>
                <a:ext uri="{FF2B5EF4-FFF2-40B4-BE49-F238E27FC236}">
                  <a16:creationId xmlns:a16="http://schemas.microsoft.com/office/drawing/2014/main" id="{0A421716-1FB4-BAA7-62BD-9D9ABC21138D}"/>
                </a:ext>
              </a:extLst>
            </p:cNvPr>
            <p:cNvGrpSpPr/>
            <p:nvPr/>
          </p:nvGrpSpPr>
          <p:grpSpPr>
            <a:xfrm>
              <a:off x="1865018" y="556812"/>
              <a:ext cx="5413964" cy="1091058"/>
              <a:chOff x="514350" y="875585"/>
              <a:chExt cx="5413964" cy="1091058"/>
            </a:xfrm>
          </p:grpSpPr>
          <p:grpSp>
            <p:nvGrpSpPr>
              <p:cNvPr id="8" name="Group 8">
                <a:extLst>
                  <a:ext uri="{FF2B5EF4-FFF2-40B4-BE49-F238E27FC236}">
                    <a16:creationId xmlns:a16="http://schemas.microsoft.com/office/drawing/2014/main" id="{5B6E473F-ADB7-A176-048E-389BE36E2CCB}"/>
                  </a:ext>
                </a:extLst>
              </p:cNvPr>
              <p:cNvGrpSpPr/>
              <p:nvPr/>
            </p:nvGrpSpPr>
            <p:grpSpPr>
              <a:xfrm>
                <a:off x="514350" y="875585"/>
                <a:ext cx="5198878" cy="1091058"/>
                <a:chOff x="0" y="2"/>
                <a:chExt cx="7440300" cy="2909488"/>
              </a:xfrm>
            </p:grpSpPr>
            <p:grpSp>
              <p:nvGrpSpPr>
                <p:cNvPr id="10" name="Group 9">
                  <a:extLst>
                    <a:ext uri="{FF2B5EF4-FFF2-40B4-BE49-F238E27FC236}">
                      <a16:creationId xmlns:a16="http://schemas.microsoft.com/office/drawing/2014/main" id="{C03AA694-A68F-2413-AC1B-EEA187863D05}"/>
                    </a:ext>
                  </a:extLst>
                </p:cNvPr>
                <p:cNvGrpSpPr/>
                <p:nvPr/>
              </p:nvGrpSpPr>
              <p:grpSpPr>
                <a:xfrm>
                  <a:off x="0" y="2"/>
                  <a:ext cx="7440300" cy="2909488"/>
                  <a:chOff x="0" y="1"/>
                  <a:chExt cx="3262824" cy="1275909"/>
                </a:xfrm>
              </p:grpSpPr>
              <p:sp>
                <p:nvSpPr>
                  <p:cNvPr id="12" name="Freeform 10">
                    <a:extLst>
                      <a:ext uri="{FF2B5EF4-FFF2-40B4-BE49-F238E27FC236}">
                        <a16:creationId xmlns:a16="http://schemas.microsoft.com/office/drawing/2014/main" id="{F71A73B2-F8CF-C3A2-994A-A9E7ABBE5ADF}"/>
                      </a:ext>
                    </a:extLst>
                  </p:cNvPr>
                  <p:cNvSpPr/>
                  <p:nvPr/>
                </p:nvSpPr>
                <p:spPr>
                  <a:xfrm>
                    <a:off x="0" y="1"/>
                    <a:ext cx="3262824" cy="1275909"/>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11" name="TextBox 11">
                  <a:extLst>
                    <a:ext uri="{FF2B5EF4-FFF2-40B4-BE49-F238E27FC236}">
                      <a16:creationId xmlns:a16="http://schemas.microsoft.com/office/drawing/2014/main" id="{8145013C-2D0C-F138-2D99-48AF9BCFBC22}"/>
                    </a:ext>
                  </a:extLst>
                </p:cNvPr>
                <p:cNvSpPr txBox="1"/>
                <p:nvPr/>
              </p:nvSpPr>
              <p:spPr>
                <a:xfrm>
                  <a:off x="472877" y="574095"/>
                  <a:ext cx="6494548" cy="1477328"/>
                </a:xfrm>
                <a:prstGeom prst="rect">
                  <a:avLst/>
                </a:prstGeom>
              </p:spPr>
              <p:txBody>
                <a:bodyPr lIns="0" tIns="0" rIns="0" bIns="0" rtlCol="0" anchor="t">
                  <a:spAutoFit/>
                </a:bodyPr>
                <a:lstStyle/>
                <a:p>
                  <a:pPr algn="ctr">
                    <a:spcBef>
                      <a:spcPct val="0"/>
                    </a:spcBef>
                  </a:pPr>
                  <a:r>
                    <a:rPr lang="en-US" sz="1800" i="1">
                      <a:solidFill>
                        <a:srgbClr val="EA1C0A"/>
                      </a:solidFill>
                      <a:latin typeface="+mn-lt"/>
                    </a:rPr>
                    <a:t>“Balance is not something you find, but something you create.”</a:t>
                  </a:r>
                </a:p>
              </p:txBody>
            </p:sp>
          </p:grpSp>
          <p:sp>
            <p:nvSpPr>
              <p:cNvPr id="9" name="TextBox 11">
                <a:extLst>
                  <a:ext uri="{FF2B5EF4-FFF2-40B4-BE49-F238E27FC236}">
                    <a16:creationId xmlns:a16="http://schemas.microsoft.com/office/drawing/2014/main" id="{83128B88-0066-3E58-C5EE-33137DC6620C}"/>
                  </a:ext>
                </a:extLst>
              </p:cNvPr>
              <p:cNvSpPr txBox="1"/>
              <p:nvPr/>
            </p:nvSpPr>
            <p:spPr>
              <a:xfrm>
                <a:off x="3492858" y="1592387"/>
                <a:ext cx="2435456" cy="215444"/>
              </a:xfrm>
              <a:prstGeom prst="rect">
                <a:avLst/>
              </a:prstGeom>
            </p:spPr>
            <p:txBody>
              <a:bodyPr wrap="square" lIns="0" tIns="0" rIns="0" bIns="0" rtlCol="0" anchor="t">
                <a:spAutoFit/>
              </a:bodyPr>
              <a:lstStyle/>
              <a:p>
                <a:pPr algn="ctr">
                  <a:spcBef>
                    <a:spcPct val="0"/>
                  </a:spcBef>
                </a:pPr>
                <a:r>
                  <a:rPr lang="en-US">
                    <a:solidFill>
                      <a:srgbClr val="EA1C0A"/>
                    </a:solidFill>
                    <a:latin typeface="+mn-lt"/>
                  </a:rPr>
                  <a:t>Jana Kingsford</a:t>
                </a:r>
              </a:p>
            </p:txBody>
          </p:sp>
        </p:grpSp>
        <p:grpSp>
          <p:nvGrpSpPr>
            <p:cNvPr id="4" name="Group 3">
              <a:extLst>
                <a:ext uri="{FF2B5EF4-FFF2-40B4-BE49-F238E27FC236}">
                  <a16:creationId xmlns:a16="http://schemas.microsoft.com/office/drawing/2014/main" id="{8C3BC860-5575-AB05-EF6C-3E82A3285863}"/>
                </a:ext>
              </a:extLst>
            </p:cNvPr>
            <p:cNvGrpSpPr/>
            <p:nvPr/>
          </p:nvGrpSpPr>
          <p:grpSpPr>
            <a:xfrm>
              <a:off x="1316643" y="155749"/>
              <a:ext cx="901544" cy="802125"/>
              <a:chOff x="471329" y="286473"/>
              <a:chExt cx="901544" cy="802125"/>
            </a:xfrm>
          </p:grpSpPr>
          <p:grpSp>
            <p:nvGrpSpPr>
              <p:cNvPr id="5" name="Group 13">
                <a:extLst>
                  <a:ext uri="{FF2B5EF4-FFF2-40B4-BE49-F238E27FC236}">
                    <a16:creationId xmlns:a16="http://schemas.microsoft.com/office/drawing/2014/main" id="{D38F6718-3A4B-2B5B-0F67-E4A814BCAA40}"/>
                  </a:ext>
                </a:extLst>
              </p:cNvPr>
              <p:cNvGrpSpPr/>
              <p:nvPr/>
            </p:nvGrpSpPr>
            <p:grpSpPr>
              <a:xfrm>
                <a:off x="471329" y="286473"/>
                <a:ext cx="901544" cy="802125"/>
                <a:chOff x="0" y="0"/>
                <a:chExt cx="2356214" cy="671539"/>
              </a:xfrm>
            </p:grpSpPr>
            <p:sp>
              <p:nvSpPr>
                <p:cNvPr id="7" name="Freeform 14">
                  <a:extLst>
                    <a:ext uri="{FF2B5EF4-FFF2-40B4-BE49-F238E27FC236}">
                      <a16:creationId xmlns:a16="http://schemas.microsoft.com/office/drawing/2014/main" id="{2502B92D-7CD7-C34A-C625-1EE386F2F1B1}"/>
                    </a:ext>
                  </a:extLst>
                </p:cNvPr>
                <p:cNvSpPr/>
                <p:nvPr/>
              </p:nvSpPr>
              <p:spPr>
                <a:xfrm>
                  <a:off x="0" y="0"/>
                  <a:ext cx="2356215" cy="671539"/>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rgbClr val="EA1C0A"/>
                </a:solidFill>
              </p:spPr>
            </p:sp>
          </p:grpSp>
          <p:pic>
            <p:nvPicPr>
              <p:cNvPr id="6" name="Picture 5" descr="Icon&#10;&#10;Description automatically generated">
                <a:extLst>
                  <a:ext uri="{FF2B5EF4-FFF2-40B4-BE49-F238E27FC236}">
                    <a16:creationId xmlns:a16="http://schemas.microsoft.com/office/drawing/2014/main" id="{08646F04-1205-3468-BDBF-7B9146E5A8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196" y="315707"/>
                <a:ext cx="743656" cy="743656"/>
              </a:xfrm>
              <a:prstGeom prst="rect">
                <a:avLst/>
              </a:prstGeom>
            </p:spPr>
          </p:pic>
        </p:grpSp>
      </p:grpSp>
      <p:grpSp>
        <p:nvGrpSpPr>
          <p:cNvPr id="13" name="Group 12">
            <a:extLst>
              <a:ext uri="{FF2B5EF4-FFF2-40B4-BE49-F238E27FC236}">
                <a16:creationId xmlns:a16="http://schemas.microsoft.com/office/drawing/2014/main" id="{F9223329-8170-FEF7-473B-E59B243F9DFD}"/>
              </a:ext>
            </a:extLst>
          </p:cNvPr>
          <p:cNvGrpSpPr/>
          <p:nvPr/>
        </p:nvGrpSpPr>
        <p:grpSpPr>
          <a:xfrm>
            <a:off x="3913413" y="3555280"/>
            <a:ext cx="4760322" cy="1225725"/>
            <a:chOff x="4501811" y="3427700"/>
            <a:chExt cx="4460561" cy="1225725"/>
          </a:xfrm>
        </p:grpSpPr>
        <p:grpSp>
          <p:nvGrpSpPr>
            <p:cNvPr id="14" name="Group 4">
              <a:extLst>
                <a:ext uri="{FF2B5EF4-FFF2-40B4-BE49-F238E27FC236}">
                  <a16:creationId xmlns:a16="http://schemas.microsoft.com/office/drawing/2014/main" id="{08EE0868-4FDE-14D1-CF2F-7CAC52FB95CF}"/>
                </a:ext>
              </a:extLst>
            </p:cNvPr>
            <p:cNvGrpSpPr/>
            <p:nvPr/>
          </p:nvGrpSpPr>
          <p:grpSpPr>
            <a:xfrm>
              <a:off x="5160396" y="3427700"/>
              <a:ext cx="3801976" cy="1225725"/>
              <a:chOff x="-6526" y="0"/>
              <a:chExt cx="4446120" cy="1138331"/>
            </a:xfrm>
          </p:grpSpPr>
          <p:sp>
            <p:nvSpPr>
              <p:cNvPr id="17" name="Freeform 5">
                <a:extLst>
                  <a:ext uri="{FF2B5EF4-FFF2-40B4-BE49-F238E27FC236}">
                    <a16:creationId xmlns:a16="http://schemas.microsoft.com/office/drawing/2014/main" id="{18D8412F-3C38-2546-12E4-2654DF38B729}"/>
                  </a:ext>
                </a:extLst>
              </p:cNvPr>
              <p:cNvSpPr/>
              <p:nvPr/>
            </p:nvSpPr>
            <p:spPr>
              <a:xfrm>
                <a:off x="-6526" y="0"/>
                <a:ext cx="4446120" cy="1138331"/>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15" name="TextBox 33">
              <a:extLst>
                <a:ext uri="{FF2B5EF4-FFF2-40B4-BE49-F238E27FC236}">
                  <a16:creationId xmlns:a16="http://schemas.microsoft.com/office/drawing/2014/main" id="{9CEF4C39-9BC8-038F-EA99-295989744F00}"/>
                </a:ext>
              </a:extLst>
            </p:cNvPr>
            <p:cNvSpPr txBox="1"/>
            <p:nvPr/>
          </p:nvSpPr>
          <p:spPr>
            <a:xfrm>
              <a:off x="5334801" y="3562190"/>
              <a:ext cx="3453166" cy="898195"/>
            </a:xfrm>
            <a:prstGeom prst="rect">
              <a:avLst/>
            </a:prstGeom>
          </p:spPr>
          <p:txBody>
            <a:bodyPr wrap="square" lIns="0" tIns="0" rIns="0" bIns="0" rtlCol="0" anchor="t">
              <a:spAutoFit/>
            </a:bodyPr>
            <a:lstStyle/>
            <a:p>
              <a:pPr marL="1">
                <a:lnSpc>
                  <a:spcPts val="1754"/>
                </a:lnSpc>
                <a:spcBef>
                  <a:spcPct val="0"/>
                </a:spcBef>
                <a:buClr>
                  <a:srgbClr val="141414"/>
                </a:buClr>
                <a:buSzPct val="100000"/>
              </a:pPr>
              <a:r>
                <a:rPr lang="en-US" sz="1100">
                  <a:solidFill>
                    <a:srgbClr val="141414"/>
                  </a:solidFill>
                  <a:latin typeface="EON Brix Sans Medium" panose="020B0600000000000000" pitchFamily="34" charset="0"/>
                </a:rPr>
                <a:t>Making the implementation of the Data Ownership as part of E.ON Group functional policy is also about finding the balance: giving strong guidance on What to be implemented, but at the same time giving enough flexibility to the regions on How</a:t>
              </a:r>
            </a:p>
          </p:txBody>
        </p:sp>
        <p:pic>
          <p:nvPicPr>
            <p:cNvPr id="16" name="Picture 15">
              <a:extLst>
                <a:ext uri="{FF2B5EF4-FFF2-40B4-BE49-F238E27FC236}">
                  <a16:creationId xmlns:a16="http://schemas.microsoft.com/office/drawing/2014/main" id="{2E41AB85-F48C-4826-640A-9E4D3089C09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501811" y="3612259"/>
              <a:ext cx="743229" cy="743229"/>
            </a:xfrm>
            <a:prstGeom prst="rect">
              <a:avLst/>
            </a:prstGeom>
          </p:spPr>
        </p:pic>
      </p:grpSp>
      <p:grpSp>
        <p:nvGrpSpPr>
          <p:cNvPr id="18" name="Group 17">
            <a:extLst>
              <a:ext uri="{FF2B5EF4-FFF2-40B4-BE49-F238E27FC236}">
                <a16:creationId xmlns:a16="http://schemas.microsoft.com/office/drawing/2014/main" id="{E7D6A4EF-C058-C5E0-4CE7-6638A0DA3D78}"/>
              </a:ext>
            </a:extLst>
          </p:cNvPr>
          <p:cNvGrpSpPr/>
          <p:nvPr/>
        </p:nvGrpSpPr>
        <p:grpSpPr>
          <a:xfrm>
            <a:off x="3831098" y="2046810"/>
            <a:ext cx="4565479" cy="1225725"/>
            <a:chOff x="4506581" y="1782211"/>
            <a:chExt cx="4565479" cy="1225725"/>
          </a:xfrm>
        </p:grpSpPr>
        <p:grpSp>
          <p:nvGrpSpPr>
            <p:cNvPr id="19" name="Group 2">
              <a:extLst>
                <a:ext uri="{FF2B5EF4-FFF2-40B4-BE49-F238E27FC236}">
                  <a16:creationId xmlns:a16="http://schemas.microsoft.com/office/drawing/2014/main" id="{F150FF30-B63E-8BF3-7366-7D2A3BFF9DB6}"/>
                </a:ext>
              </a:extLst>
            </p:cNvPr>
            <p:cNvGrpSpPr/>
            <p:nvPr/>
          </p:nvGrpSpPr>
          <p:grpSpPr>
            <a:xfrm>
              <a:off x="5165976" y="1782211"/>
              <a:ext cx="3906084" cy="1225725"/>
              <a:chOff x="-1" y="1"/>
              <a:chExt cx="4567867" cy="1433391"/>
            </a:xfrm>
          </p:grpSpPr>
          <p:sp>
            <p:nvSpPr>
              <p:cNvPr id="22" name="Freeform 3">
                <a:extLst>
                  <a:ext uri="{FF2B5EF4-FFF2-40B4-BE49-F238E27FC236}">
                    <a16:creationId xmlns:a16="http://schemas.microsoft.com/office/drawing/2014/main" id="{76F0434B-0163-568A-8FBA-D53C878F1613}"/>
                  </a:ext>
                </a:extLst>
              </p:cNvPr>
              <p:cNvSpPr/>
              <p:nvPr/>
            </p:nvSpPr>
            <p:spPr>
              <a:xfrm>
                <a:off x="-1" y="1"/>
                <a:ext cx="4567867" cy="1433391"/>
              </a:xfrm>
              <a:custGeom>
                <a:avLst/>
                <a:gdLst/>
                <a:ahLst/>
                <a:cxnLst/>
                <a:rect l="l" t="t" r="r" b="b"/>
                <a:pathLst>
                  <a:path w="4050502" h="1343163">
                    <a:moveTo>
                      <a:pt x="3926041" y="1343163"/>
                    </a:moveTo>
                    <a:lnTo>
                      <a:pt x="124460" y="1343163"/>
                    </a:lnTo>
                    <a:cubicBezTo>
                      <a:pt x="55880" y="1343163"/>
                      <a:pt x="0" y="1287283"/>
                      <a:pt x="0" y="1218703"/>
                    </a:cubicBezTo>
                    <a:lnTo>
                      <a:pt x="0" y="124460"/>
                    </a:lnTo>
                    <a:cubicBezTo>
                      <a:pt x="0" y="55880"/>
                      <a:pt x="55880" y="0"/>
                      <a:pt x="124460" y="0"/>
                    </a:cubicBezTo>
                    <a:lnTo>
                      <a:pt x="3926041" y="0"/>
                    </a:lnTo>
                    <a:cubicBezTo>
                      <a:pt x="3994621" y="0"/>
                      <a:pt x="4050502" y="55880"/>
                      <a:pt x="4050502" y="124460"/>
                    </a:cubicBezTo>
                    <a:lnTo>
                      <a:pt x="4050502" y="1218703"/>
                    </a:lnTo>
                    <a:cubicBezTo>
                      <a:pt x="4050502" y="1287283"/>
                      <a:pt x="3994621" y="1343163"/>
                      <a:pt x="3926041" y="1343163"/>
                    </a:cubicBezTo>
                    <a:close/>
                  </a:path>
                </a:pathLst>
              </a:custGeom>
              <a:ln>
                <a:solidFill>
                  <a:srgbClr val="5CC1CB"/>
                </a:solidFill>
              </a:ln>
            </p:spPr>
            <p:style>
              <a:lnRef idx="2">
                <a:schemeClr val="accent1"/>
              </a:lnRef>
              <a:fillRef idx="1">
                <a:schemeClr val="lt1"/>
              </a:fillRef>
              <a:effectRef idx="0">
                <a:schemeClr val="accent1"/>
              </a:effectRef>
              <a:fontRef idx="minor">
                <a:schemeClr val="dk1"/>
              </a:fontRef>
            </p:style>
          </p:sp>
        </p:grpSp>
        <p:sp>
          <p:nvSpPr>
            <p:cNvPr id="20" name="TextBox 32">
              <a:extLst>
                <a:ext uri="{FF2B5EF4-FFF2-40B4-BE49-F238E27FC236}">
                  <a16:creationId xmlns:a16="http://schemas.microsoft.com/office/drawing/2014/main" id="{1605E843-8E69-3BAB-E8EC-C95CDD9463FA}"/>
                </a:ext>
              </a:extLst>
            </p:cNvPr>
            <p:cNvSpPr txBox="1"/>
            <p:nvPr/>
          </p:nvSpPr>
          <p:spPr>
            <a:xfrm>
              <a:off x="5382071" y="1941023"/>
              <a:ext cx="3530963" cy="898195"/>
            </a:xfrm>
            <a:prstGeom prst="rect">
              <a:avLst/>
            </a:prstGeom>
          </p:spPr>
          <p:txBody>
            <a:bodyPr wrap="square" lIns="0" tIns="0" rIns="0" bIns="0" rtlCol="0" anchor="t">
              <a:spAutoFit/>
            </a:bodyPr>
            <a:lstStyle/>
            <a:p>
              <a:pPr marL="1">
                <a:lnSpc>
                  <a:spcPts val="1754"/>
                </a:lnSpc>
                <a:buClr>
                  <a:srgbClr val="141414"/>
                </a:buClr>
                <a:buSzPct val="100000"/>
              </a:pPr>
              <a:r>
                <a:rPr lang="en-US" sz="1100">
                  <a:solidFill>
                    <a:srgbClr val="141414"/>
                  </a:solidFill>
                  <a:latin typeface="EON Brix Sans Medium" panose="020B0600000000000000" pitchFamily="34" charset="0"/>
                </a:rPr>
                <a:t>It is important to find the balance between growing demand in support of Data Governance and Management topics to deliver enough support to the regions and projects and at the same time to further developing our own capabilities </a:t>
              </a:r>
            </a:p>
          </p:txBody>
        </p:sp>
        <p:pic>
          <p:nvPicPr>
            <p:cNvPr id="21" name="Picture 20">
              <a:extLst>
                <a:ext uri="{FF2B5EF4-FFF2-40B4-BE49-F238E27FC236}">
                  <a16:creationId xmlns:a16="http://schemas.microsoft.com/office/drawing/2014/main" id="{DCDF6907-163A-FE77-24BF-597C69651E5A}"/>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506581" y="1878344"/>
              <a:ext cx="743229" cy="743229"/>
            </a:xfrm>
            <a:prstGeom prst="rect">
              <a:avLst/>
            </a:prstGeom>
          </p:spPr>
        </p:pic>
      </p:grpSp>
      <p:pic>
        <p:nvPicPr>
          <p:cNvPr id="68610" name="Picture 2">
            <a:extLst>
              <a:ext uri="{FF2B5EF4-FFF2-40B4-BE49-F238E27FC236}">
                <a16:creationId xmlns:a16="http://schemas.microsoft.com/office/drawing/2014/main" id="{D30D1FFA-A2C3-9527-4D0D-0EFE151D784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23152" r="18066"/>
          <a:stretch/>
        </p:blipFill>
        <p:spPr bwMode="auto">
          <a:xfrm>
            <a:off x="536792" y="1921525"/>
            <a:ext cx="2350568" cy="2664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6057247"/>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15">
            <a:extLst>
              <a:ext uri="{FF2B5EF4-FFF2-40B4-BE49-F238E27FC236}">
                <a16:creationId xmlns:a16="http://schemas.microsoft.com/office/drawing/2014/main" id="{AC937EA4-7FCC-4D81-A25D-C27DBD1DAACB}"/>
              </a:ext>
            </a:extLst>
          </p:cNvPr>
          <p:cNvSpPr/>
          <p:nvPr/>
        </p:nvSpPr>
        <p:spPr>
          <a:xfrm>
            <a:off x="8643670" y="-6927"/>
            <a:ext cx="528885" cy="5152925"/>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sp>
        <p:nvSpPr>
          <p:cNvPr id="6" name="Rechteck 10">
            <a:extLst>
              <a:ext uri="{FF2B5EF4-FFF2-40B4-BE49-F238E27FC236}">
                <a16:creationId xmlns:a16="http://schemas.microsoft.com/office/drawing/2014/main" id="{87211C43-C9A7-478C-B291-660B7A3DB7FE}"/>
              </a:ext>
            </a:extLst>
          </p:cNvPr>
          <p:cNvSpPr/>
          <p:nvPr/>
        </p:nvSpPr>
        <p:spPr>
          <a:xfrm>
            <a:off x="-8818" y="-4663"/>
            <a:ext cx="302818" cy="5152925"/>
          </a:xfrm>
          <a:prstGeom prst="rect">
            <a:avLst/>
          </a:prstGeom>
          <a:solidFill>
            <a:srgbClr val="EA1C0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defRPr/>
            </a:pPr>
            <a:endParaRPr lang="de-DE" sz="1867">
              <a:solidFill>
                <a:srgbClr val="FFFFFF"/>
              </a:solidFill>
              <a:latin typeface="EON Brix Sans Black" charset="0"/>
              <a:ea typeface="EON Brix Sans Black" charset="0"/>
              <a:cs typeface="EON Brix Sans Black" charset="0"/>
            </a:endParaRPr>
          </a:p>
        </p:txBody>
      </p:sp>
      <p:sp>
        <p:nvSpPr>
          <p:cNvPr id="7" name="Rechteck 6">
            <a:extLst>
              <a:ext uri="{FF2B5EF4-FFF2-40B4-BE49-F238E27FC236}">
                <a16:creationId xmlns:a16="http://schemas.microsoft.com/office/drawing/2014/main" id="{EB80DA01-E2CD-451D-A04D-4019C50A20F8}"/>
              </a:ext>
            </a:extLst>
          </p:cNvPr>
          <p:cNvSpPr/>
          <p:nvPr/>
        </p:nvSpPr>
        <p:spPr>
          <a:xfrm>
            <a:off x="289791" y="-6929"/>
            <a:ext cx="756592" cy="5155191"/>
          </a:xfrm>
          <a:prstGeom prst="rect">
            <a:avLst/>
          </a:prstGeom>
          <a:solidFill>
            <a:srgbClr val="5CC1CB"/>
          </a:solidFill>
          <a:ln w="25400" cap="flat" cmpd="sng" algn="ctr">
            <a:noFill/>
            <a:prstDash val="solid"/>
          </a:ln>
          <a:effectLst/>
        </p:spPr>
        <p:txBody>
          <a:bodyPr rtlCol="0" anchor="ctr"/>
          <a:lstStyle/>
          <a:p>
            <a:pPr algn="ctr" defTabSz="914378">
              <a:defRPr/>
            </a:pPr>
            <a:endParaRPr lang="de-DE" sz="1800" kern="0">
              <a:solidFill>
                <a:srgbClr val="FFFFFF"/>
              </a:solidFill>
            </a:endParaRPr>
          </a:p>
        </p:txBody>
      </p:sp>
      <p:sp>
        <p:nvSpPr>
          <p:cNvPr id="8" name="TextBox 3">
            <a:extLst>
              <a:ext uri="{FF2B5EF4-FFF2-40B4-BE49-F238E27FC236}">
                <a16:creationId xmlns:a16="http://schemas.microsoft.com/office/drawing/2014/main" id="{1726ADA9-0E09-4860-A92E-8DB8434CF5D2}"/>
              </a:ext>
            </a:extLst>
          </p:cNvPr>
          <p:cNvSpPr txBox="1"/>
          <p:nvPr/>
        </p:nvSpPr>
        <p:spPr>
          <a:xfrm>
            <a:off x="345969" y="134153"/>
            <a:ext cx="7399537" cy="553998"/>
          </a:xfrm>
          <a:prstGeom prst="rect">
            <a:avLst/>
          </a:prstGeom>
        </p:spPr>
        <p:txBody>
          <a:bodyPr wrap="square" lIns="0" tIns="0" rIns="0" bIns="0" rtlCol="0" anchor="t">
            <a:spAutoFit/>
          </a:bodyPr>
          <a:lstStyle/>
          <a:p>
            <a:pPr lvl="0"/>
            <a:r>
              <a:rPr lang="en-US" sz="3600">
                <a:solidFill>
                  <a:srgbClr val="FF0000"/>
                </a:solidFill>
                <a:latin typeface="+mj-lt"/>
              </a:rPr>
              <a:t>In order to succeed, you must...</a:t>
            </a:r>
          </a:p>
        </p:txBody>
      </p:sp>
      <p:grpSp>
        <p:nvGrpSpPr>
          <p:cNvPr id="37" name="Group 36">
            <a:extLst>
              <a:ext uri="{FF2B5EF4-FFF2-40B4-BE49-F238E27FC236}">
                <a16:creationId xmlns:a16="http://schemas.microsoft.com/office/drawing/2014/main" id="{BB1585C0-36E7-49D5-99F1-0CA5BE11C9D1}"/>
              </a:ext>
            </a:extLst>
          </p:cNvPr>
          <p:cNvGrpSpPr>
            <a:grpSpLocks noChangeAspect="1"/>
          </p:cNvGrpSpPr>
          <p:nvPr/>
        </p:nvGrpSpPr>
        <p:grpSpPr>
          <a:xfrm>
            <a:off x="2349395" y="725858"/>
            <a:ext cx="756585" cy="789298"/>
            <a:chOff x="2778355" y="2237875"/>
            <a:chExt cx="1195839" cy="1247545"/>
          </a:xfrm>
        </p:grpSpPr>
        <p:grpSp>
          <p:nvGrpSpPr>
            <p:cNvPr id="38" name="Group 5">
              <a:extLst>
                <a:ext uri="{FF2B5EF4-FFF2-40B4-BE49-F238E27FC236}">
                  <a16:creationId xmlns:a16="http://schemas.microsoft.com/office/drawing/2014/main" id="{B16671DF-AF6B-45D2-BE59-350C5A4C5F5F}"/>
                </a:ext>
              </a:extLst>
            </p:cNvPr>
            <p:cNvGrpSpPr>
              <a:grpSpLocks noChangeAspect="1"/>
            </p:cNvGrpSpPr>
            <p:nvPr/>
          </p:nvGrpSpPr>
          <p:grpSpPr>
            <a:xfrm>
              <a:off x="2900670" y="3383107"/>
              <a:ext cx="951209" cy="102313"/>
              <a:chOff x="0" y="0"/>
              <a:chExt cx="6350000" cy="6350000"/>
            </a:xfrm>
          </p:grpSpPr>
          <p:sp>
            <p:nvSpPr>
              <p:cNvPr id="42" name="Freeform 6">
                <a:extLst>
                  <a:ext uri="{FF2B5EF4-FFF2-40B4-BE49-F238E27FC236}">
                    <a16:creationId xmlns:a16="http://schemas.microsoft.com/office/drawing/2014/main" id="{CA3DB84B-E367-488B-9A24-8C92F5511D96}"/>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0603F">
                  <a:alpha val="19607"/>
                </a:srgbClr>
              </a:solidFill>
            </p:spPr>
          </p:sp>
        </p:grpSp>
        <p:grpSp>
          <p:nvGrpSpPr>
            <p:cNvPr id="39" name="Group 13">
              <a:extLst>
                <a:ext uri="{FF2B5EF4-FFF2-40B4-BE49-F238E27FC236}">
                  <a16:creationId xmlns:a16="http://schemas.microsoft.com/office/drawing/2014/main" id="{B1EA6DA0-947E-4C39-9760-648973A589E8}"/>
                </a:ext>
              </a:extLst>
            </p:cNvPr>
            <p:cNvGrpSpPr>
              <a:grpSpLocks noChangeAspect="1"/>
            </p:cNvGrpSpPr>
            <p:nvPr/>
          </p:nvGrpSpPr>
          <p:grpSpPr>
            <a:xfrm>
              <a:off x="2778355" y="2237875"/>
              <a:ext cx="1195839" cy="1195839"/>
              <a:chOff x="0" y="0"/>
              <a:chExt cx="6350000" cy="6350000"/>
            </a:xfrm>
          </p:grpSpPr>
          <p:sp>
            <p:nvSpPr>
              <p:cNvPr id="41" name="Freeform 14">
                <a:extLst>
                  <a:ext uri="{FF2B5EF4-FFF2-40B4-BE49-F238E27FC236}">
                    <a16:creationId xmlns:a16="http://schemas.microsoft.com/office/drawing/2014/main" id="{3268B072-7DBB-4581-81A0-1BC59CE65510}"/>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8F7BF"/>
              </a:solidFill>
            </p:spPr>
            <p:txBody>
              <a:bodyPr/>
              <a:lstStyle/>
              <a:p>
                <a:endParaRPr lang="en-US"/>
              </a:p>
            </p:txBody>
          </p:sp>
        </p:grpSp>
        <p:pic>
          <p:nvPicPr>
            <p:cNvPr id="40" name="Picture 24">
              <a:extLst>
                <a:ext uri="{FF2B5EF4-FFF2-40B4-BE49-F238E27FC236}">
                  <a16:creationId xmlns:a16="http://schemas.microsoft.com/office/drawing/2014/main" id="{B129D93F-AAB4-4969-8DFA-7DEFE1A336F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960387" y="2366831"/>
              <a:ext cx="946963" cy="946964"/>
            </a:xfrm>
            <a:prstGeom prst="rect">
              <a:avLst/>
            </a:prstGeom>
          </p:spPr>
        </p:pic>
      </p:grpSp>
      <p:sp>
        <p:nvSpPr>
          <p:cNvPr id="30" name="TextBox 3">
            <a:extLst>
              <a:ext uri="{FF2B5EF4-FFF2-40B4-BE49-F238E27FC236}">
                <a16:creationId xmlns:a16="http://schemas.microsoft.com/office/drawing/2014/main" id="{90B55C33-1179-4026-9092-8B5380B30B13}"/>
              </a:ext>
            </a:extLst>
          </p:cNvPr>
          <p:cNvSpPr txBox="1"/>
          <p:nvPr/>
        </p:nvSpPr>
        <p:spPr>
          <a:xfrm>
            <a:off x="3266904" y="888706"/>
            <a:ext cx="2772806" cy="430887"/>
          </a:xfrm>
          <a:prstGeom prst="rect">
            <a:avLst/>
          </a:prstGeom>
        </p:spPr>
        <p:txBody>
          <a:bodyPr wrap="square" lIns="0" tIns="0" rIns="0" bIns="0" rtlCol="0" anchor="t">
            <a:spAutoFit/>
          </a:bodyPr>
          <a:lstStyle/>
          <a:p>
            <a:pPr lvl="0"/>
            <a:r>
              <a:rPr lang="en-US" sz="2800">
                <a:solidFill>
                  <a:srgbClr val="5CC1CB"/>
                </a:solidFill>
                <a:latin typeface="+mj-lt"/>
              </a:rPr>
              <a:t>Dare!</a:t>
            </a:r>
          </a:p>
        </p:txBody>
      </p:sp>
      <p:grpSp>
        <p:nvGrpSpPr>
          <p:cNvPr id="31" name="Group 30">
            <a:extLst>
              <a:ext uri="{FF2B5EF4-FFF2-40B4-BE49-F238E27FC236}">
                <a16:creationId xmlns:a16="http://schemas.microsoft.com/office/drawing/2014/main" id="{37B2A79C-31E0-4C27-B619-7AD72C1268C7}"/>
              </a:ext>
            </a:extLst>
          </p:cNvPr>
          <p:cNvGrpSpPr>
            <a:grpSpLocks noChangeAspect="1"/>
          </p:cNvGrpSpPr>
          <p:nvPr/>
        </p:nvGrpSpPr>
        <p:grpSpPr>
          <a:xfrm>
            <a:off x="2347707" y="1559009"/>
            <a:ext cx="756585" cy="789298"/>
            <a:chOff x="2778355" y="2237875"/>
            <a:chExt cx="1195839" cy="1247545"/>
          </a:xfrm>
        </p:grpSpPr>
        <p:grpSp>
          <p:nvGrpSpPr>
            <p:cNvPr id="32" name="Group 5">
              <a:extLst>
                <a:ext uri="{FF2B5EF4-FFF2-40B4-BE49-F238E27FC236}">
                  <a16:creationId xmlns:a16="http://schemas.microsoft.com/office/drawing/2014/main" id="{1757F251-BABA-4F94-91C8-45B8CEE80132}"/>
                </a:ext>
              </a:extLst>
            </p:cNvPr>
            <p:cNvGrpSpPr>
              <a:grpSpLocks noChangeAspect="1"/>
            </p:cNvGrpSpPr>
            <p:nvPr/>
          </p:nvGrpSpPr>
          <p:grpSpPr>
            <a:xfrm>
              <a:off x="2900670" y="3383107"/>
              <a:ext cx="951209" cy="102313"/>
              <a:chOff x="0" y="0"/>
              <a:chExt cx="6350000" cy="6350000"/>
            </a:xfrm>
          </p:grpSpPr>
          <p:sp>
            <p:nvSpPr>
              <p:cNvPr id="36" name="Freeform 6">
                <a:extLst>
                  <a:ext uri="{FF2B5EF4-FFF2-40B4-BE49-F238E27FC236}">
                    <a16:creationId xmlns:a16="http://schemas.microsoft.com/office/drawing/2014/main" id="{D5BBD642-277D-4CCF-AD0D-7576F3070E99}"/>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0603F">
                  <a:alpha val="19607"/>
                </a:srgbClr>
              </a:solidFill>
            </p:spPr>
          </p:sp>
        </p:grpSp>
        <p:grpSp>
          <p:nvGrpSpPr>
            <p:cNvPr id="33" name="Group 13">
              <a:extLst>
                <a:ext uri="{FF2B5EF4-FFF2-40B4-BE49-F238E27FC236}">
                  <a16:creationId xmlns:a16="http://schemas.microsoft.com/office/drawing/2014/main" id="{DF0D8061-722B-4931-BA3B-47784AD99E93}"/>
                </a:ext>
              </a:extLst>
            </p:cNvPr>
            <p:cNvGrpSpPr>
              <a:grpSpLocks noChangeAspect="1"/>
            </p:cNvGrpSpPr>
            <p:nvPr/>
          </p:nvGrpSpPr>
          <p:grpSpPr>
            <a:xfrm>
              <a:off x="2778355" y="2237875"/>
              <a:ext cx="1195839" cy="1195839"/>
              <a:chOff x="0" y="0"/>
              <a:chExt cx="6350000" cy="6350000"/>
            </a:xfrm>
          </p:grpSpPr>
          <p:sp>
            <p:nvSpPr>
              <p:cNvPr id="35" name="Freeform 14">
                <a:extLst>
                  <a:ext uri="{FF2B5EF4-FFF2-40B4-BE49-F238E27FC236}">
                    <a16:creationId xmlns:a16="http://schemas.microsoft.com/office/drawing/2014/main" id="{6F5F3D0E-5A30-4F15-85F2-1E98D1F42C84}"/>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8F7BF"/>
              </a:solidFill>
            </p:spPr>
            <p:txBody>
              <a:bodyPr/>
              <a:lstStyle/>
              <a:p>
                <a:endParaRPr lang="en-US"/>
              </a:p>
            </p:txBody>
          </p:sp>
        </p:grpSp>
        <p:pic>
          <p:nvPicPr>
            <p:cNvPr id="34" name="Picture 24">
              <a:extLst>
                <a:ext uri="{FF2B5EF4-FFF2-40B4-BE49-F238E27FC236}">
                  <a16:creationId xmlns:a16="http://schemas.microsoft.com/office/drawing/2014/main" id="{2FF20F76-AB1F-4CDE-8A54-EE0455D6F23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60979" y="2447595"/>
              <a:ext cx="790145" cy="790145"/>
            </a:xfrm>
            <a:prstGeom prst="rect">
              <a:avLst/>
            </a:prstGeom>
          </p:spPr>
        </p:pic>
      </p:grpSp>
      <p:sp>
        <p:nvSpPr>
          <p:cNvPr id="61" name="TextBox 3">
            <a:extLst>
              <a:ext uri="{FF2B5EF4-FFF2-40B4-BE49-F238E27FC236}">
                <a16:creationId xmlns:a16="http://schemas.microsoft.com/office/drawing/2014/main" id="{265E3076-B573-4E79-9676-5C62F9EB0F6B}"/>
              </a:ext>
            </a:extLst>
          </p:cNvPr>
          <p:cNvSpPr txBox="1"/>
          <p:nvPr/>
        </p:nvSpPr>
        <p:spPr>
          <a:xfrm>
            <a:off x="3265215" y="1721857"/>
            <a:ext cx="4826071" cy="430887"/>
          </a:xfrm>
          <a:prstGeom prst="rect">
            <a:avLst/>
          </a:prstGeom>
        </p:spPr>
        <p:txBody>
          <a:bodyPr wrap="square" lIns="0" tIns="0" rIns="0" bIns="0" rtlCol="0" anchor="t">
            <a:spAutoFit/>
          </a:bodyPr>
          <a:lstStyle/>
          <a:p>
            <a:pPr lvl="0"/>
            <a:r>
              <a:rPr lang="en-US" sz="2800">
                <a:solidFill>
                  <a:srgbClr val="5CC1CB"/>
                </a:solidFill>
                <a:latin typeface="+mj-lt"/>
              </a:rPr>
              <a:t>Embrace &amp; manage change</a:t>
            </a:r>
          </a:p>
        </p:txBody>
      </p:sp>
      <p:grpSp>
        <p:nvGrpSpPr>
          <p:cNvPr id="62" name="Group 61">
            <a:extLst>
              <a:ext uri="{FF2B5EF4-FFF2-40B4-BE49-F238E27FC236}">
                <a16:creationId xmlns:a16="http://schemas.microsoft.com/office/drawing/2014/main" id="{4538E56E-E97D-431D-AB5E-361DBD3F8E4B}"/>
              </a:ext>
            </a:extLst>
          </p:cNvPr>
          <p:cNvGrpSpPr>
            <a:grpSpLocks noChangeAspect="1"/>
          </p:cNvGrpSpPr>
          <p:nvPr/>
        </p:nvGrpSpPr>
        <p:grpSpPr>
          <a:xfrm>
            <a:off x="2349395" y="2386014"/>
            <a:ext cx="756585" cy="789298"/>
            <a:chOff x="2778355" y="2237875"/>
            <a:chExt cx="1195839" cy="1247545"/>
          </a:xfrm>
        </p:grpSpPr>
        <p:grpSp>
          <p:nvGrpSpPr>
            <p:cNvPr id="63" name="Group 5">
              <a:extLst>
                <a:ext uri="{FF2B5EF4-FFF2-40B4-BE49-F238E27FC236}">
                  <a16:creationId xmlns:a16="http://schemas.microsoft.com/office/drawing/2014/main" id="{AA6D652E-2B7F-4C15-8FEE-562BD22C3B42}"/>
                </a:ext>
              </a:extLst>
            </p:cNvPr>
            <p:cNvGrpSpPr>
              <a:grpSpLocks noChangeAspect="1"/>
            </p:cNvGrpSpPr>
            <p:nvPr/>
          </p:nvGrpSpPr>
          <p:grpSpPr>
            <a:xfrm>
              <a:off x="2900670" y="3383107"/>
              <a:ext cx="951209" cy="102313"/>
              <a:chOff x="0" y="0"/>
              <a:chExt cx="6350000" cy="6350000"/>
            </a:xfrm>
          </p:grpSpPr>
          <p:sp>
            <p:nvSpPr>
              <p:cNvPr id="67" name="Freeform 6">
                <a:extLst>
                  <a:ext uri="{FF2B5EF4-FFF2-40B4-BE49-F238E27FC236}">
                    <a16:creationId xmlns:a16="http://schemas.microsoft.com/office/drawing/2014/main" id="{1A1A79DF-5004-4385-87D6-0116D329B304}"/>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0603F">
                  <a:alpha val="19607"/>
                </a:srgbClr>
              </a:solidFill>
            </p:spPr>
          </p:sp>
        </p:grpSp>
        <p:grpSp>
          <p:nvGrpSpPr>
            <p:cNvPr id="64" name="Group 13">
              <a:extLst>
                <a:ext uri="{FF2B5EF4-FFF2-40B4-BE49-F238E27FC236}">
                  <a16:creationId xmlns:a16="http://schemas.microsoft.com/office/drawing/2014/main" id="{8C3C03A0-6F36-4069-B294-C3753A904E17}"/>
                </a:ext>
              </a:extLst>
            </p:cNvPr>
            <p:cNvGrpSpPr>
              <a:grpSpLocks noChangeAspect="1"/>
            </p:cNvGrpSpPr>
            <p:nvPr/>
          </p:nvGrpSpPr>
          <p:grpSpPr>
            <a:xfrm>
              <a:off x="2778355" y="2237875"/>
              <a:ext cx="1195839" cy="1195839"/>
              <a:chOff x="0" y="0"/>
              <a:chExt cx="6350000" cy="6350000"/>
            </a:xfrm>
          </p:grpSpPr>
          <p:sp>
            <p:nvSpPr>
              <p:cNvPr id="66" name="Freeform 14">
                <a:extLst>
                  <a:ext uri="{FF2B5EF4-FFF2-40B4-BE49-F238E27FC236}">
                    <a16:creationId xmlns:a16="http://schemas.microsoft.com/office/drawing/2014/main" id="{095295AA-02B7-4671-B44D-634854D02A0F}"/>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8F7BF"/>
              </a:solidFill>
            </p:spPr>
            <p:txBody>
              <a:bodyPr/>
              <a:lstStyle/>
              <a:p>
                <a:endParaRPr lang="en-US"/>
              </a:p>
            </p:txBody>
          </p:sp>
        </p:grpSp>
        <p:pic>
          <p:nvPicPr>
            <p:cNvPr id="65" name="Picture 24">
              <a:extLst>
                <a:ext uri="{FF2B5EF4-FFF2-40B4-BE49-F238E27FC236}">
                  <a16:creationId xmlns:a16="http://schemas.microsoft.com/office/drawing/2014/main" id="{7234DC3D-BE6C-419B-94D9-C63CED04971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960979" y="2447595"/>
              <a:ext cx="790145" cy="790145"/>
            </a:xfrm>
            <a:prstGeom prst="rect">
              <a:avLst/>
            </a:prstGeom>
          </p:spPr>
        </p:pic>
      </p:grpSp>
      <p:sp>
        <p:nvSpPr>
          <p:cNvPr id="68" name="TextBox 3">
            <a:extLst>
              <a:ext uri="{FF2B5EF4-FFF2-40B4-BE49-F238E27FC236}">
                <a16:creationId xmlns:a16="http://schemas.microsoft.com/office/drawing/2014/main" id="{AC5F868D-E7CF-40F2-B73E-4981EDE1C78F}"/>
              </a:ext>
            </a:extLst>
          </p:cNvPr>
          <p:cNvSpPr txBox="1"/>
          <p:nvPr/>
        </p:nvSpPr>
        <p:spPr>
          <a:xfrm>
            <a:off x="3266903" y="2548862"/>
            <a:ext cx="4826071" cy="430887"/>
          </a:xfrm>
          <a:prstGeom prst="rect">
            <a:avLst/>
          </a:prstGeom>
        </p:spPr>
        <p:txBody>
          <a:bodyPr wrap="square" lIns="0" tIns="0" rIns="0" bIns="0" rtlCol="0" anchor="t">
            <a:spAutoFit/>
          </a:bodyPr>
          <a:lstStyle/>
          <a:p>
            <a:pPr lvl="0"/>
            <a:r>
              <a:rPr lang="en-US" sz="2800">
                <a:solidFill>
                  <a:srgbClr val="5CC1CB"/>
                </a:solidFill>
                <a:latin typeface="+mj-lt"/>
              </a:rPr>
              <a:t>Be consistent</a:t>
            </a:r>
          </a:p>
        </p:txBody>
      </p:sp>
      <p:grpSp>
        <p:nvGrpSpPr>
          <p:cNvPr id="69" name="Group 68">
            <a:extLst>
              <a:ext uri="{FF2B5EF4-FFF2-40B4-BE49-F238E27FC236}">
                <a16:creationId xmlns:a16="http://schemas.microsoft.com/office/drawing/2014/main" id="{5C5F69DA-6260-4964-8909-7DDD9D6B7ACE}"/>
              </a:ext>
            </a:extLst>
          </p:cNvPr>
          <p:cNvGrpSpPr>
            <a:grpSpLocks noChangeAspect="1"/>
          </p:cNvGrpSpPr>
          <p:nvPr/>
        </p:nvGrpSpPr>
        <p:grpSpPr>
          <a:xfrm>
            <a:off x="2344497" y="3244986"/>
            <a:ext cx="756585" cy="789298"/>
            <a:chOff x="2778355" y="2237875"/>
            <a:chExt cx="1195839" cy="1247545"/>
          </a:xfrm>
        </p:grpSpPr>
        <p:grpSp>
          <p:nvGrpSpPr>
            <p:cNvPr id="70" name="Group 5">
              <a:extLst>
                <a:ext uri="{FF2B5EF4-FFF2-40B4-BE49-F238E27FC236}">
                  <a16:creationId xmlns:a16="http://schemas.microsoft.com/office/drawing/2014/main" id="{D2ADFD01-ABDA-4103-AF1D-15C12AE42CB1}"/>
                </a:ext>
              </a:extLst>
            </p:cNvPr>
            <p:cNvGrpSpPr>
              <a:grpSpLocks noChangeAspect="1"/>
            </p:cNvGrpSpPr>
            <p:nvPr/>
          </p:nvGrpSpPr>
          <p:grpSpPr>
            <a:xfrm>
              <a:off x="2900670" y="3383107"/>
              <a:ext cx="951209" cy="102313"/>
              <a:chOff x="0" y="0"/>
              <a:chExt cx="6350000" cy="6350000"/>
            </a:xfrm>
          </p:grpSpPr>
          <p:sp>
            <p:nvSpPr>
              <p:cNvPr id="74" name="Freeform 6">
                <a:extLst>
                  <a:ext uri="{FF2B5EF4-FFF2-40B4-BE49-F238E27FC236}">
                    <a16:creationId xmlns:a16="http://schemas.microsoft.com/office/drawing/2014/main" id="{954799F5-78F0-49B1-89B1-D69BE5A76763}"/>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0603F">
                  <a:alpha val="19607"/>
                </a:srgbClr>
              </a:solidFill>
            </p:spPr>
          </p:sp>
        </p:grpSp>
        <p:grpSp>
          <p:nvGrpSpPr>
            <p:cNvPr id="71" name="Group 13">
              <a:extLst>
                <a:ext uri="{FF2B5EF4-FFF2-40B4-BE49-F238E27FC236}">
                  <a16:creationId xmlns:a16="http://schemas.microsoft.com/office/drawing/2014/main" id="{4FAB6A1E-2FF6-40D9-9B13-10DC2C75C17E}"/>
                </a:ext>
              </a:extLst>
            </p:cNvPr>
            <p:cNvGrpSpPr>
              <a:grpSpLocks noChangeAspect="1"/>
            </p:cNvGrpSpPr>
            <p:nvPr/>
          </p:nvGrpSpPr>
          <p:grpSpPr>
            <a:xfrm>
              <a:off x="2778355" y="2237875"/>
              <a:ext cx="1195839" cy="1195839"/>
              <a:chOff x="0" y="0"/>
              <a:chExt cx="6350000" cy="6350000"/>
            </a:xfrm>
          </p:grpSpPr>
          <p:sp>
            <p:nvSpPr>
              <p:cNvPr id="73" name="Freeform 14">
                <a:extLst>
                  <a:ext uri="{FF2B5EF4-FFF2-40B4-BE49-F238E27FC236}">
                    <a16:creationId xmlns:a16="http://schemas.microsoft.com/office/drawing/2014/main" id="{32FE2FFE-E61C-4704-9271-7B12B2D5C960}"/>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8F7BF"/>
              </a:solidFill>
            </p:spPr>
            <p:txBody>
              <a:bodyPr/>
              <a:lstStyle/>
              <a:p>
                <a:endParaRPr lang="en-US"/>
              </a:p>
            </p:txBody>
          </p:sp>
        </p:grpSp>
        <p:pic>
          <p:nvPicPr>
            <p:cNvPr id="72" name="Picture 24">
              <a:extLst>
                <a:ext uri="{FF2B5EF4-FFF2-40B4-BE49-F238E27FC236}">
                  <a16:creationId xmlns:a16="http://schemas.microsoft.com/office/drawing/2014/main" id="{D053668E-7B88-4E80-B890-36AA6A4AC913}"/>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2960979" y="2447595"/>
              <a:ext cx="790145" cy="790145"/>
            </a:xfrm>
            <a:prstGeom prst="rect">
              <a:avLst/>
            </a:prstGeom>
          </p:spPr>
        </p:pic>
      </p:grpSp>
      <p:sp>
        <p:nvSpPr>
          <p:cNvPr id="75" name="TextBox 3">
            <a:extLst>
              <a:ext uri="{FF2B5EF4-FFF2-40B4-BE49-F238E27FC236}">
                <a16:creationId xmlns:a16="http://schemas.microsoft.com/office/drawing/2014/main" id="{28DD905A-5B33-4DD0-BA4D-A41CCFEE3370}"/>
              </a:ext>
            </a:extLst>
          </p:cNvPr>
          <p:cNvSpPr txBox="1"/>
          <p:nvPr/>
        </p:nvSpPr>
        <p:spPr>
          <a:xfrm>
            <a:off x="3262005" y="3407834"/>
            <a:ext cx="4826071" cy="430887"/>
          </a:xfrm>
          <a:prstGeom prst="rect">
            <a:avLst/>
          </a:prstGeom>
        </p:spPr>
        <p:txBody>
          <a:bodyPr wrap="square" lIns="0" tIns="0" rIns="0" bIns="0" rtlCol="0" anchor="t">
            <a:spAutoFit/>
          </a:bodyPr>
          <a:lstStyle/>
          <a:p>
            <a:pPr lvl="0"/>
            <a:r>
              <a:rPr lang="en-US" sz="2800">
                <a:solidFill>
                  <a:srgbClr val="5CC1CB"/>
                </a:solidFill>
                <a:latin typeface="+mj-lt"/>
              </a:rPr>
              <a:t>Create value</a:t>
            </a:r>
          </a:p>
        </p:txBody>
      </p:sp>
      <p:grpSp>
        <p:nvGrpSpPr>
          <p:cNvPr id="76" name="Group 75">
            <a:extLst>
              <a:ext uri="{FF2B5EF4-FFF2-40B4-BE49-F238E27FC236}">
                <a16:creationId xmlns:a16="http://schemas.microsoft.com/office/drawing/2014/main" id="{0EBB40F3-06F9-4384-A4E8-2A90AB791ACA}"/>
              </a:ext>
            </a:extLst>
          </p:cNvPr>
          <p:cNvGrpSpPr>
            <a:grpSpLocks noChangeAspect="1"/>
          </p:cNvGrpSpPr>
          <p:nvPr/>
        </p:nvGrpSpPr>
        <p:grpSpPr>
          <a:xfrm>
            <a:off x="2342809" y="4103958"/>
            <a:ext cx="756585" cy="789298"/>
            <a:chOff x="2778355" y="2237875"/>
            <a:chExt cx="1195839" cy="1247545"/>
          </a:xfrm>
        </p:grpSpPr>
        <p:grpSp>
          <p:nvGrpSpPr>
            <p:cNvPr id="77" name="Group 5">
              <a:extLst>
                <a:ext uri="{FF2B5EF4-FFF2-40B4-BE49-F238E27FC236}">
                  <a16:creationId xmlns:a16="http://schemas.microsoft.com/office/drawing/2014/main" id="{DECAD5B4-3662-428A-B105-4FBA37BBDF7D}"/>
                </a:ext>
              </a:extLst>
            </p:cNvPr>
            <p:cNvGrpSpPr>
              <a:grpSpLocks noChangeAspect="1"/>
            </p:cNvGrpSpPr>
            <p:nvPr/>
          </p:nvGrpSpPr>
          <p:grpSpPr>
            <a:xfrm>
              <a:off x="2900670" y="3383107"/>
              <a:ext cx="951209" cy="102313"/>
              <a:chOff x="0" y="0"/>
              <a:chExt cx="6350000" cy="6350000"/>
            </a:xfrm>
          </p:grpSpPr>
          <p:sp>
            <p:nvSpPr>
              <p:cNvPr id="81" name="Freeform 6">
                <a:extLst>
                  <a:ext uri="{FF2B5EF4-FFF2-40B4-BE49-F238E27FC236}">
                    <a16:creationId xmlns:a16="http://schemas.microsoft.com/office/drawing/2014/main" id="{BD3B57FB-998E-49B1-8480-65D2C06FD948}"/>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0603F">
                  <a:alpha val="19607"/>
                </a:srgbClr>
              </a:solidFill>
            </p:spPr>
          </p:sp>
        </p:grpSp>
        <p:grpSp>
          <p:nvGrpSpPr>
            <p:cNvPr id="78" name="Group 13">
              <a:extLst>
                <a:ext uri="{FF2B5EF4-FFF2-40B4-BE49-F238E27FC236}">
                  <a16:creationId xmlns:a16="http://schemas.microsoft.com/office/drawing/2014/main" id="{F0ED7504-0F61-49CC-B89B-C2DA0D2ABC31}"/>
                </a:ext>
              </a:extLst>
            </p:cNvPr>
            <p:cNvGrpSpPr>
              <a:grpSpLocks noChangeAspect="1"/>
            </p:cNvGrpSpPr>
            <p:nvPr/>
          </p:nvGrpSpPr>
          <p:grpSpPr>
            <a:xfrm>
              <a:off x="2778355" y="2237875"/>
              <a:ext cx="1195839" cy="1195839"/>
              <a:chOff x="0" y="0"/>
              <a:chExt cx="6350000" cy="6350000"/>
            </a:xfrm>
          </p:grpSpPr>
          <p:sp>
            <p:nvSpPr>
              <p:cNvPr id="80" name="Freeform 14">
                <a:extLst>
                  <a:ext uri="{FF2B5EF4-FFF2-40B4-BE49-F238E27FC236}">
                    <a16:creationId xmlns:a16="http://schemas.microsoft.com/office/drawing/2014/main" id="{BBE21132-F9FC-4882-837B-71AB825A8AF7}"/>
                  </a:ext>
                </a:extLst>
              </p:cNvPr>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F8F7BF"/>
              </a:solidFill>
            </p:spPr>
            <p:txBody>
              <a:bodyPr/>
              <a:lstStyle/>
              <a:p>
                <a:endParaRPr lang="en-US"/>
              </a:p>
            </p:txBody>
          </p:sp>
        </p:grpSp>
        <p:pic>
          <p:nvPicPr>
            <p:cNvPr id="79" name="Picture 24">
              <a:extLst>
                <a:ext uri="{FF2B5EF4-FFF2-40B4-BE49-F238E27FC236}">
                  <a16:creationId xmlns:a16="http://schemas.microsoft.com/office/drawing/2014/main" id="{2394DA19-508C-4A6A-8D9E-0E83033FD661}"/>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961447" y="2447595"/>
              <a:ext cx="789208" cy="790145"/>
            </a:xfrm>
            <a:prstGeom prst="rect">
              <a:avLst/>
            </a:prstGeom>
          </p:spPr>
        </p:pic>
      </p:grpSp>
      <p:sp>
        <p:nvSpPr>
          <p:cNvPr id="82" name="TextBox 3">
            <a:extLst>
              <a:ext uri="{FF2B5EF4-FFF2-40B4-BE49-F238E27FC236}">
                <a16:creationId xmlns:a16="http://schemas.microsoft.com/office/drawing/2014/main" id="{8FD502E2-48BF-456E-8653-6C2E77B9FE1B}"/>
              </a:ext>
            </a:extLst>
          </p:cNvPr>
          <p:cNvSpPr txBox="1"/>
          <p:nvPr/>
        </p:nvSpPr>
        <p:spPr>
          <a:xfrm>
            <a:off x="3260317" y="4266806"/>
            <a:ext cx="4826071" cy="430887"/>
          </a:xfrm>
          <a:prstGeom prst="rect">
            <a:avLst/>
          </a:prstGeom>
        </p:spPr>
        <p:txBody>
          <a:bodyPr wrap="square" lIns="0" tIns="0" rIns="0" bIns="0" rtlCol="0" anchor="t">
            <a:spAutoFit/>
          </a:bodyPr>
          <a:lstStyle/>
          <a:p>
            <a:pPr lvl="0"/>
            <a:r>
              <a:rPr lang="en-US" sz="2800">
                <a:solidFill>
                  <a:srgbClr val="5CC1CB"/>
                </a:solidFill>
                <a:latin typeface="+mj-lt"/>
              </a:rPr>
              <a:t>Focus on what matters</a:t>
            </a:r>
          </a:p>
        </p:txBody>
      </p:sp>
    </p:spTree>
    <p:extLst>
      <p:ext uri="{BB962C8B-B14F-4D97-AF65-F5344CB8AC3E}">
        <p14:creationId xmlns:p14="http://schemas.microsoft.com/office/powerpoint/2010/main" val="3802723326"/>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EB7875-23AB-47BF-A880-A3F74EAC4C8E}"/>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3" imgW="216" imgH="216" progId="TCLayout.ActiveDocument.1">
                  <p:embed/>
                </p:oleObj>
              </mc:Choice>
              <mc:Fallback>
                <p:oleObj name="think-cell Folie" r:id="rId3" imgW="216" imgH="216" progId="TCLayout.ActiveDocument.1">
                  <p:embed/>
                  <p:pic>
                    <p:nvPicPr>
                      <p:cNvPr id="5" name="Object 4" hidden="1">
                        <a:extLst>
                          <a:ext uri="{FF2B5EF4-FFF2-40B4-BE49-F238E27FC236}">
                            <a16:creationId xmlns:a16="http://schemas.microsoft.com/office/drawing/2014/main" id="{23EB7875-23AB-47BF-A880-A3F74EAC4C8E}"/>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6" name="Rechteck 6">
            <a:extLst>
              <a:ext uri="{FF2B5EF4-FFF2-40B4-BE49-F238E27FC236}">
                <a16:creationId xmlns:a16="http://schemas.microsoft.com/office/drawing/2014/main" id="{42DF1763-73E6-482B-9FE2-8DAC47401342}"/>
              </a:ext>
            </a:extLst>
          </p:cNvPr>
          <p:cNvSpPr/>
          <p:nvPr/>
        </p:nvSpPr>
        <p:spPr>
          <a:xfrm>
            <a:off x="6778183" y="0"/>
            <a:ext cx="215900" cy="5143500"/>
          </a:xfrm>
          <a:prstGeom prst="rect">
            <a:avLst/>
          </a:prstGeom>
          <a:solidFill>
            <a:srgbClr val="EAE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nvGrpSpPr>
          <p:cNvPr id="7" name="Group 5">
            <a:extLst>
              <a:ext uri="{FF2B5EF4-FFF2-40B4-BE49-F238E27FC236}">
                <a16:creationId xmlns:a16="http://schemas.microsoft.com/office/drawing/2014/main" id="{36150DD6-7DA2-4030-9A55-439DCD28B51B}"/>
              </a:ext>
            </a:extLst>
          </p:cNvPr>
          <p:cNvGrpSpPr/>
          <p:nvPr/>
        </p:nvGrpSpPr>
        <p:grpSpPr>
          <a:xfrm rot="20621998">
            <a:off x="851203" y="1474714"/>
            <a:ext cx="1350703" cy="1361456"/>
            <a:chOff x="191047" y="199663"/>
            <a:chExt cx="3093335" cy="3043600"/>
          </a:xfrm>
        </p:grpSpPr>
        <p:grpSp>
          <p:nvGrpSpPr>
            <p:cNvPr id="8" name="Group 6">
              <a:extLst>
                <a:ext uri="{FF2B5EF4-FFF2-40B4-BE49-F238E27FC236}">
                  <a16:creationId xmlns:a16="http://schemas.microsoft.com/office/drawing/2014/main" id="{348DF347-720B-404A-9534-07FAC13D9908}"/>
                </a:ext>
              </a:extLst>
            </p:cNvPr>
            <p:cNvGrpSpPr/>
            <p:nvPr/>
          </p:nvGrpSpPr>
          <p:grpSpPr>
            <a:xfrm rot="-426806">
              <a:off x="191047" y="199663"/>
              <a:ext cx="3093335" cy="3043600"/>
              <a:chOff x="12700" y="19050"/>
              <a:chExt cx="3191510" cy="3140197"/>
            </a:xfrm>
          </p:grpSpPr>
          <p:sp>
            <p:nvSpPr>
              <p:cNvPr id="10" name="Freeform 7">
                <a:extLst>
                  <a:ext uri="{FF2B5EF4-FFF2-40B4-BE49-F238E27FC236}">
                    <a16:creationId xmlns:a16="http://schemas.microsoft.com/office/drawing/2014/main" id="{CA310756-FB66-4924-8759-9ACDA5CF6822}"/>
                  </a:ext>
                </a:extLst>
              </p:cNvPr>
              <p:cNvSpPr/>
              <p:nvPr/>
            </p:nvSpPr>
            <p:spPr>
              <a:xfrm>
                <a:off x="20118" y="223677"/>
                <a:ext cx="3178810" cy="2929375"/>
              </a:xfrm>
              <a:custGeom>
                <a:avLst/>
                <a:gdLst/>
                <a:ahLst/>
                <a:cxnLst/>
                <a:rect l="l" t="t" r="r" b="b"/>
                <a:pathLst>
                  <a:path w="3178810" h="2929376">
                    <a:moveTo>
                      <a:pt x="0" y="11430"/>
                    </a:moveTo>
                    <a:cubicBezTo>
                      <a:pt x="0" y="11430"/>
                      <a:pt x="2540" y="340360"/>
                      <a:pt x="2540" y="749300"/>
                    </a:cubicBezTo>
                    <a:cubicBezTo>
                      <a:pt x="2540" y="1158039"/>
                      <a:pt x="7620" y="1748277"/>
                      <a:pt x="7620" y="2008627"/>
                    </a:cubicBezTo>
                    <a:cubicBezTo>
                      <a:pt x="7620" y="2202937"/>
                      <a:pt x="16510" y="2601717"/>
                      <a:pt x="21590" y="2793487"/>
                    </a:cubicBezTo>
                    <a:lnTo>
                      <a:pt x="130810" y="2907787"/>
                    </a:lnTo>
                    <a:cubicBezTo>
                      <a:pt x="275590" y="2915407"/>
                      <a:pt x="543560" y="2929377"/>
                      <a:pt x="793750" y="2929377"/>
                    </a:cubicBezTo>
                    <a:lnTo>
                      <a:pt x="3178810" y="2929377"/>
                    </a:lnTo>
                    <a:lnTo>
                      <a:pt x="3178810" y="693420"/>
                    </a:lnTo>
                    <a:cubicBezTo>
                      <a:pt x="3178810" y="318770"/>
                      <a:pt x="3169920" y="41910"/>
                      <a:pt x="3169920" y="41910"/>
                    </a:cubicBezTo>
                    <a:cubicBezTo>
                      <a:pt x="3014980" y="21590"/>
                      <a:pt x="2858770" y="11430"/>
                      <a:pt x="2701290" y="12700"/>
                    </a:cubicBezTo>
                    <a:cubicBezTo>
                      <a:pt x="2428240" y="12700"/>
                      <a:pt x="1179830" y="21590"/>
                      <a:pt x="929640" y="12700"/>
                    </a:cubicBezTo>
                    <a:cubicBezTo>
                      <a:pt x="594360" y="0"/>
                      <a:pt x="0" y="11430"/>
                      <a:pt x="0" y="11430"/>
                    </a:cubicBezTo>
                    <a:close/>
                  </a:path>
                </a:pathLst>
              </a:custGeom>
              <a:solidFill>
                <a:srgbClr val="E3E000"/>
              </a:solidFill>
            </p:spPr>
            <p:txBody>
              <a:bodyPr/>
              <a:lstStyle/>
              <a:p>
                <a:endParaRPr lang="en-US" sz="1050"/>
              </a:p>
            </p:txBody>
          </p:sp>
          <p:sp>
            <p:nvSpPr>
              <p:cNvPr id="11" name="Freeform 8">
                <a:extLst>
                  <a:ext uri="{FF2B5EF4-FFF2-40B4-BE49-F238E27FC236}">
                    <a16:creationId xmlns:a16="http://schemas.microsoft.com/office/drawing/2014/main" id="{1A2C520D-F7EF-486B-9CDE-90C848A755F4}"/>
                  </a:ext>
                </a:extLst>
              </p:cNvPr>
              <p:cNvSpPr/>
              <p:nvPr/>
            </p:nvSpPr>
            <p:spPr>
              <a:xfrm>
                <a:off x="12700" y="217170"/>
                <a:ext cx="3191510" cy="2942077"/>
              </a:xfrm>
              <a:custGeom>
                <a:avLst/>
                <a:gdLst/>
                <a:ahLst/>
                <a:cxnLst/>
                <a:rect l="l" t="t" r="r" b="b"/>
                <a:pathLst>
                  <a:path w="3191510" h="2942077">
                    <a:moveTo>
                      <a:pt x="3191510" y="2942077"/>
                    </a:moveTo>
                    <a:lnTo>
                      <a:pt x="800100" y="2942077"/>
                    </a:lnTo>
                    <a:cubicBezTo>
                      <a:pt x="547370" y="2942077"/>
                      <a:pt x="270510" y="2928107"/>
                      <a:pt x="137160" y="2920487"/>
                    </a:cubicBezTo>
                    <a:lnTo>
                      <a:pt x="134620" y="2920487"/>
                    </a:lnTo>
                    <a:lnTo>
                      <a:pt x="21590" y="2802377"/>
                    </a:lnTo>
                    <a:lnTo>
                      <a:pt x="21590" y="2799837"/>
                    </a:lnTo>
                    <a:cubicBezTo>
                      <a:pt x="16510" y="2596637"/>
                      <a:pt x="7620" y="2202937"/>
                      <a:pt x="7620" y="2014977"/>
                    </a:cubicBezTo>
                    <a:cubicBezTo>
                      <a:pt x="7620" y="1899407"/>
                      <a:pt x="6350" y="1722877"/>
                      <a:pt x="5080" y="1518468"/>
                    </a:cubicBezTo>
                    <a:cubicBezTo>
                      <a:pt x="3810" y="1267186"/>
                      <a:pt x="2540" y="982908"/>
                      <a:pt x="2540" y="755650"/>
                    </a:cubicBezTo>
                    <a:cubicBezTo>
                      <a:pt x="2540" y="351790"/>
                      <a:pt x="0" y="21590"/>
                      <a:pt x="0" y="17780"/>
                    </a:cubicBezTo>
                    <a:lnTo>
                      <a:pt x="0" y="11430"/>
                    </a:lnTo>
                    <a:lnTo>
                      <a:pt x="6350" y="11430"/>
                    </a:lnTo>
                    <a:cubicBezTo>
                      <a:pt x="12700" y="11430"/>
                      <a:pt x="604520" y="0"/>
                      <a:pt x="935990" y="12700"/>
                    </a:cubicBezTo>
                    <a:cubicBezTo>
                      <a:pt x="1121410" y="19050"/>
                      <a:pt x="1852930" y="16510"/>
                      <a:pt x="2338070" y="13970"/>
                    </a:cubicBezTo>
                    <a:cubicBezTo>
                      <a:pt x="2503170" y="12700"/>
                      <a:pt x="2637790" y="12700"/>
                      <a:pt x="2707640" y="12700"/>
                    </a:cubicBezTo>
                    <a:cubicBezTo>
                      <a:pt x="2861310" y="11430"/>
                      <a:pt x="3020060" y="21590"/>
                      <a:pt x="3177540" y="41910"/>
                    </a:cubicBezTo>
                    <a:lnTo>
                      <a:pt x="3182620" y="43180"/>
                    </a:lnTo>
                    <a:lnTo>
                      <a:pt x="3182620" y="48260"/>
                    </a:lnTo>
                    <a:cubicBezTo>
                      <a:pt x="3182620" y="50800"/>
                      <a:pt x="3191510" y="328930"/>
                      <a:pt x="3191510" y="699770"/>
                    </a:cubicBezTo>
                    <a:lnTo>
                      <a:pt x="3191510" y="2942077"/>
                    </a:lnTo>
                    <a:close/>
                    <a:moveTo>
                      <a:pt x="139700" y="2907787"/>
                    </a:moveTo>
                    <a:cubicBezTo>
                      <a:pt x="273050" y="2915407"/>
                      <a:pt x="548640" y="2929377"/>
                      <a:pt x="800100" y="2929377"/>
                    </a:cubicBezTo>
                    <a:lnTo>
                      <a:pt x="3178810" y="2929377"/>
                    </a:lnTo>
                    <a:lnTo>
                      <a:pt x="3178810" y="699770"/>
                    </a:lnTo>
                    <a:cubicBezTo>
                      <a:pt x="3178810" y="358140"/>
                      <a:pt x="3171190" y="93980"/>
                      <a:pt x="3169920" y="53340"/>
                    </a:cubicBezTo>
                    <a:cubicBezTo>
                      <a:pt x="3014980" y="33020"/>
                      <a:pt x="2858770" y="24130"/>
                      <a:pt x="2707640" y="25400"/>
                    </a:cubicBezTo>
                    <a:cubicBezTo>
                      <a:pt x="2637790" y="25400"/>
                      <a:pt x="2503170" y="27940"/>
                      <a:pt x="2338070" y="26670"/>
                    </a:cubicBezTo>
                    <a:cubicBezTo>
                      <a:pt x="1828800" y="22860"/>
                      <a:pt x="1304290" y="22860"/>
                      <a:pt x="935990" y="25400"/>
                    </a:cubicBezTo>
                    <a:cubicBezTo>
                      <a:pt x="622300" y="27940"/>
                      <a:pt x="77470" y="22860"/>
                      <a:pt x="12700" y="24130"/>
                    </a:cubicBezTo>
                    <a:cubicBezTo>
                      <a:pt x="12700" y="71120"/>
                      <a:pt x="15240" y="382270"/>
                      <a:pt x="15240" y="755650"/>
                    </a:cubicBezTo>
                    <a:cubicBezTo>
                      <a:pt x="15240" y="982908"/>
                      <a:pt x="16510" y="1267186"/>
                      <a:pt x="17780" y="1518468"/>
                    </a:cubicBezTo>
                    <a:cubicBezTo>
                      <a:pt x="19050" y="1722877"/>
                      <a:pt x="20320" y="1899407"/>
                      <a:pt x="20320" y="2014977"/>
                    </a:cubicBezTo>
                    <a:cubicBezTo>
                      <a:pt x="20320" y="2201667"/>
                      <a:pt x="29210" y="2592827"/>
                      <a:pt x="34290" y="2797297"/>
                    </a:cubicBezTo>
                    <a:lnTo>
                      <a:pt x="139700" y="2907787"/>
                    </a:lnTo>
                    <a:close/>
                    <a:moveTo>
                      <a:pt x="139700" y="2907787"/>
                    </a:moveTo>
                    <a:lnTo>
                      <a:pt x="133350" y="2782057"/>
                    </a:lnTo>
                    <a:lnTo>
                      <a:pt x="34290" y="2796027"/>
                    </a:lnTo>
                    <a:lnTo>
                      <a:pt x="139700" y="2907787"/>
                    </a:lnTo>
                    <a:close/>
                  </a:path>
                </a:pathLst>
              </a:custGeom>
              <a:solidFill>
                <a:srgbClr val="000000"/>
              </a:solidFill>
            </p:spPr>
          </p:sp>
          <p:sp>
            <p:nvSpPr>
              <p:cNvPr id="12" name="Freeform 9">
                <a:extLst>
                  <a:ext uri="{FF2B5EF4-FFF2-40B4-BE49-F238E27FC236}">
                    <a16:creationId xmlns:a16="http://schemas.microsoft.com/office/drawing/2014/main" id="{A80D6F9B-3031-4151-89FD-4A24A420532B}"/>
                  </a:ext>
                </a:extLst>
              </p:cNvPr>
              <p:cNvSpPr/>
              <p:nvPr/>
            </p:nvSpPr>
            <p:spPr>
              <a:xfrm>
                <a:off x="299720" y="19050"/>
                <a:ext cx="617220" cy="304800"/>
              </a:xfrm>
              <a:custGeom>
                <a:avLst/>
                <a:gdLst/>
                <a:ahLst/>
                <a:cxnLst/>
                <a:rect l="l" t="t" r="r" b="b"/>
                <a:pathLst>
                  <a:path w="617220" h="304800">
                    <a:moveTo>
                      <a:pt x="600710" y="0"/>
                    </a:moveTo>
                    <a:lnTo>
                      <a:pt x="617220" y="77470"/>
                    </a:lnTo>
                    <a:lnTo>
                      <a:pt x="600710" y="190500"/>
                    </a:lnTo>
                    <a:lnTo>
                      <a:pt x="589280" y="297180"/>
                    </a:lnTo>
                    <a:lnTo>
                      <a:pt x="5080" y="304800"/>
                    </a:lnTo>
                    <a:lnTo>
                      <a:pt x="5080" y="255270"/>
                    </a:lnTo>
                    <a:lnTo>
                      <a:pt x="16510" y="148590"/>
                    </a:lnTo>
                    <a:lnTo>
                      <a:pt x="0" y="21590"/>
                    </a:lnTo>
                    <a:lnTo>
                      <a:pt x="600710" y="0"/>
                    </a:lnTo>
                    <a:close/>
                  </a:path>
                </a:pathLst>
              </a:custGeom>
              <a:solidFill>
                <a:srgbClr val="000000"/>
              </a:solidFill>
            </p:spPr>
          </p:sp>
        </p:grpSp>
        <p:sp>
          <p:nvSpPr>
            <p:cNvPr id="9" name="TextBox 10">
              <a:extLst>
                <a:ext uri="{FF2B5EF4-FFF2-40B4-BE49-F238E27FC236}">
                  <a16:creationId xmlns:a16="http://schemas.microsoft.com/office/drawing/2014/main" id="{233806FE-6E7E-413E-A491-FBD2BA18CBCF}"/>
                </a:ext>
              </a:extLst>
            </p:cNvPr>
            <p:cNvSpPr txBox="1"/>
            <p:nvPr/>
          </p:nvSpPr>
          <p:spPr>
            <a:xfrm rot="21173194">
              <a:off x="759274" y="792500"/>
              <a:ext cx="1947782" cy="2159041"/>
            </a:xfrm>
            <a:prstGeom prst="rect">
              <a:avLst/>
            </a:prstGeom>
          </p:spPr>
          <p:txBody>
            <a:bodyPr lIns="0" tIns="0" rIns="0" bIns="0" rtlCol="0" anchor="t">
              <a:spAutoFit/>
            </a:bodyPr>
            <a:lstStyle/>
            <a:p>
              <a:pPr algn="ctr">
                <a:lnSpc>
                  <a:spcPts val="2625"/>
                </a:lnSpc>
              </a:pPr>
              <a:r>
                <a:rPr lang="en-US" sz="1650" b="1" spc="19">
                  <a:solidFill>
                    <a:srgbClr val="FFFFFF"/>
                  </a:solidFill>
                  <a:latin typeface="+mn-lt"/>
                </a:rPr>
                <a:t>Have a great day ahead.</a:t>
              </a:r>
            </a:p>
          </p:txBody>
        </p:sp>
      </p:grpSp>
      <p:sp>
        <p:nvSpPr>
          <p:cNvPr id="2" name="Title 1">
            <a:extLst>
              <a:ext uri="{FF2B5EF4-FFF2-40B4-BE49-F238E27FC236}">
                <a16:creationId xmlns:a16="http://schemas.microsoft.com/office/drawing/2014/main" id="{7458635B-E928-437E-A0B8-77E38328017F}"/>
              </a:ext>
            </a:extLst>
          </p:cNvPr>
          <p:cNvSpPr>
            <a:spLocks noGrp="1"/>
          </p:cNvSpPr>
          <p:nvPr>
            <p:ph type="title"/>
          </p:nvPr>
        </p:nvSpPr>
        <p:spPr>
          <a:xfrm>
            <a:off x="1088839" y="727626"/>
            <a:ext cx="5508000" cy="1849217"/>
          </a:xfrm>
        </p:spPr>
        <p:txBody>
          <a:bodyPr anchor="ctr"/>
          <a:lstStyle/>
          <a:p>
            <a:pPr algn="r"/>
            <a:r>
              <a:rPr lang="de-DE" sz="8625"/>
              <a:t>Thank you!</a:t>
            </a:r>
            <a:endParaRPr lang="en-GB" sz="4950"/>
          </a:p>
        </p:txBody>
      </p:sp>
      <p:pic>
        <p:nvPicPr>
          <p:cNvPr id="13" name="Picture 12">
            <a:extLst>
              <a:ext uri="{FF2B5EF4-FFF2-40B4-BE49-F238E27FC236}">
                <a16:creationId xmlns:a16="http://schemas.microsoft.com/office/drawing/2014/main" id="{3DD67CCB-5510-4B2D-8F2C-73A21087E63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37379"/>
          <a:stretch/>
        </p:blipFill>
        <p:spPr>
          <a:xfrm rot="5400000">
            <a:off x="5496292" y="1497791"/>
            <a:ext cx="5143501" cy="2147919"/>
          </a:xfrm>
          <a:prstGeom prst="rect">
            <a:avLst/>
          </a:prstGeom>
        </p:spPr>
      </p:pic>
      <p:pic>
        <p:nvPicPr>
          <p:cNvPr id="14" name="Picture 13" descr="Logo&#10;&#10;Description automatically generated">
            <a:extLst>
              <a:ext uri="{FF2B5EF4-FFF2-40B4-BE49-F238E27FC236}">
                <a16:creationId xmlns:a16="http://schemas.microsoft.com/office/drawing/2014/main" id="{04FA00ED-6B44-4D67-8FC6-E224066E521C}"/>
              </a:ext>
            </a:extLst>
          </p:cNvPr>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539098" y="4654120"/>
            <a:ext cx="1282562" cy="379349"/>
          </a:xfrm>
          <a:prstGeom prst="rect">
            <a:avLst/>
          </a:prstGeom>
        </p:spPr>
      </p:pic>
      <p:pic>
        <p:nvPicPr>
          <p:cNvPr id="15" name="Grafik 147">
            <a:extLst>
              <a:ext uri="{FF2B5EF4-FFF2-40B4-BE49-F238E27FC236}">
                <a16:creationId xmlns:a16="http://schemas.microsoft.com/office/drawing/2014/main" id="{156399B9-72B9-4387-946A-849A94B9A0D0}"/>
              </a:ext>
            </a:extLst>
          </p:cNvPr>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7348887" y="170524"/>
            <a:ext cx="1046445" cy="246222"/>
          </a:xfrm>
          <a:prstGeom prst="rect">
            <a:avLst/>
          </a:prstGeom>
        </p:spPr>
      </p:pic>
      <p:pic>
        <p:nvPicPr>
          <p:cNvPr id="3" name="Picture 2">
            <a:extLst>
              <a:ext uri="{FF2B5EF4-FFF2-40B4-BE49-F238E27FC236}">
                <a16:creationId xmlns:a16="http://schemas.microsoft.com/office/drawing/2014/main" id="{A6AB6B9B-D271-81C3-3E09-62D89104AC39}"/>
              </a:ext>
            </a:extLst>
          </p:cNvPr>
          <p:cNvPicPr>
            <a:picLocks noChangeAspect="1"/>
          </p:cNvPicPr>
          <p:nvPr/>
        </p:nvPicPr>
        <p:blipFill>
          <a:blip r:embed="rId8"/>
          <a:stretch>
            <a:fillRect/>
          </a:stretch>
        </p:blipFill>
        <p:spPr>
          <a:xfrm>
            <a:off x="0" y="5919"/>
            <a:ext cx="9144000" cy="5131661"/>
          </a:xfrm>
          <a:prstGeom prst="rect">
            <a:avLst/>
          </a:prstGeom>
        </p:spPr>
      </p:pic>
    </p:spTree>
    <p:extLst>
      <p:ext uri="{BB962C8B-B14F-4D97-AF65-F5344CB8AC3E}">
        <p14:creationId xmlns:p14="http://schemas.microsoft.com/office/powerpoint/2010/main" val="505153115"/>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91B783A-D612-AE40-9F25-201F7C5F63B1}"/>
              </a:ext>
            </a:extLst>
          </p:cNvPr>
          <p:cNvSpPr/>
          <p:nvPr/>
        </p:nvSpPr>
        <p:spPr>
          <a:xfrm>
            <a:off x="-1"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969E55C-BD35-6B40-A72A-81356F93CAAB}"/>
              </a:ext>
            </a:extLst>
          </p:cNvPr>
          <p:cNvSpPr/>
          <p:nvPr/>
        </p:nvSpPr>
        <p:spPr>
          <a:xfrm>
            <a:off x="7973999" y="0"/>
            <a:ext cx="1169999" cy="514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3EEC6D7-6EB1-7B4B-A9FF-A8B599AD2D31}"/>
              </a:ext>
            </a:extLst>
          </p:cNvPr>
          <p:cNvSpPr/>
          <p:nvPr/>
        </p:nvSpPr>
        <p:spPr>
          <a:xfrm>
            <a:off x="880611" y="0"/>
            <a:ext cx="446400" cy="514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object 5">
            <a:extLst>
              <a:ext uri="{FF2B5EF4-FFF2-40B4-BE49-F238E27FC236}">
                <a16:creationId xmlns:a16="http://schemas.microsoft.com/office/drawing/2014/main" id="{CAEF6CBD-A178-6D46-8BBB-52790870B985}"/>
              </a:ext>
            </a:extLst>
          </p:cNvPr>
          <p:cNvSpPr txBox="1"/>
          <p:nvPr/>
        </p:nvSpPr>
        <p:spPr>
          <a:xfrm>
            <a:off x="370684" y="1791471"/>
            <a:ext cx="8766002" cy="1378122"/>
          </a:xfrm>
          <a:prstGeom prst="rect">
            <a:avLst/>
          </a:prstGeom>
        </p:spPr>
        <p:txBody>
          <a:bodyPr vert="horz" wrap="square" lIns="0" tIns="115114" rIns="0" bIns="0" rtlCol="0" anchor="ctr">
            <a:spAutoFit/>
          </a:bodyPr>
          <a:lstStyle/>
          <a:p>
            <a:pPr marL="10860" marR="931768"/>
            <a:r>
              <a:rPr lang="de-DE" sz="4100" spc="-43">
                <a:solidFill>
                  <a:schemeClr val="bg1"/>
                </a:solidFill>
                <a:latin typeface="+mj-lt"/>
                <a:cs typeface="EONBrixSansBlack"/>
              </a:rPr>
              <a:t>About E.ON. </a:t>
            </a:r>
          </a:p>
          <a:p>
            <a:pPr marL="10860" marR="931768"/>
            <a:r>
              <a:rPr lang="de-DE" sz="4100" spc="-43">
                <a:solidFill>
                  <a:schemeClr val="bg1"/>
                </a:solidFill>
                <a:latin typeface="+mj-lt"/>
                <a:cs typeface="EONBrixSansBlack"/>
              </a:rPr>
              <a:t>How complex is the organization?</a:t>
            </a:r>
          </a:p>
        </p:txBody>
      </p:sp>
    </p:spTree>
    <p:extLst>
      <p:ext uri="{BB962C8B-B14F-4D97-AF65-F5344CB8AC3E}">
        <p14:creationId xmlns:p14="http://schemas.microsoft.com/office/powerpoint/2010/main" val="1616741894"/>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Ein Bild, das drinnen, Haus, Gebäude, klein enthält.&#10;&#10;Automatisch generierte Beschreibung">
            <a:extLst>
              <a:ext uri="{FF2B5EF4-FFF2-40B4-BE49-F238E27FC236}">
                <a16:creationId xmlns:a16="http://schemas.microsoft.com/office/drawing/2014/main" id="{6CD225F0-FCBA-474C-8AC1-4785C958707D}"/>
              </a:ext>
            </a:extLst>
          </p:cNvPr>
          <p:cNvPicPr>
            <a:picLocks noChangeAspect="1"/>
          </p:cNvPicPr>
          <p:nvPr/>
        </p:nvPicPr>
        <p:blipFill rotWithShape="1">
          <a:blip r:embed="rId3">
            <a:extLst>
              <a:ext uri="{28A0092B-C50C-407E-A947-70E740481C1C}">
                <a14:useLocalDpi xmlns:a14="http://schemas.microsoft.com/office/drawing/2010/main" val="0"/>
              </a:ext>
            </a:extLst>
          </a:blip>
          <a:srcRect l="8612" r="41278"/>
          <a:stretch/>
        </p:blipFill>
        <p:spPr>
          <a:xfrm>
            <a:off x="5708784" y="0"/>
            <a:ext cx="1717608" cy="5143500"/>
          </a:xfrm>
          <a:prstGeom prst="rect">
            <a:avLst/>
          </a:prstGeom>
        </p:spPr>
      </p:pic>
      <p:pic>
        <p:nvPicPr>
          <p:cNvPr id="4" name="Grafik 3" descr="Ein Bild, das drinnen, Person, Mann, Fenster enthält.&#10;&#10;Automatisch generierte Beschreibung">
            <a:extLst>
              <a:ext uri="{FF2B5EF4-FFF2-40B4-BE49-F238E27FC236}">
                <a16:creationId xmlns:a16="http://schemas.microsoft.com/office/drawing/2014/main" id="{FD084483-FCA2-2146-8857-205B5F862FCB}"/>
              </a:ext>
            </a:extLst>
          </p:cNvPr>
          <p:cNvPicPr>
            <a:picLocks noChangeAspect="1"/>
          </p:cNvPicPr>
          <p:nvPr/>
        </p:nvPicPr>
        <p:blipFill rotWithShape="1">
          <a:blip r:embed="rId4">
            <a:extLst>
              <a:ext uri="{28A0092B-C50C-407E-A947-70E740481C1C}">
                <a14:useLocalDpi xmlns:a14="http://schemas.microsoft.com/office/drawing/2010/main" val="0"/>
              </a:ext>
            </a:extLst>
          </a:blip>
          <a:srcRect l="60922" r="22289" b="24681"/>
          <a:stretch/>
        </p:blipFill>
        <p:spPr>
          <a:xfrm>
            <a:off x="2290961" y="0"/>
            <a:ext cx="1718121" cy="5143500"/>
          </a:xfrm>
          <a:prstGeom prst="rect">
            <a:avLst/>
          </a:prstGeom>
        </p:spPr>
      </p:pic>
      <p:pic>
        <p:nvPicPr>
          <p:cNvPr id="10" name="Grafik 9">
            <a:extLst>
              <a:ext uri="{FF2B5EF4-FFF2-40B4-BE49-F238E27FC236}">
                <a16:creationId xmlns:a16="http://schemas.microsoft.com/office/drawing/2014/main" id="{AE2094CC-FFB9-B145-B211-6A7F48140569}"/>
              </a:ext>
            </a:extLst>
          </p:cNvPr>
          <p:cNvPicPr>
            <a:picLocks noChangeAspect="1"/>
          </p:cNvPicPr>
          <p:nvPr/>
        </p:nvPicPr>
        <p:blipFill rotWithShape="1">
          <a:blip r:embed="rId5">
            <a:extLst>
              <a:ext uri="{28A0092B-C50C-407E-A947-70E740481C1C}">
                <a14:useLocalDpi xmlns:a14="http://schemas.microsoft.com/office/drawing/2010/main" val="0"/>
              </a:ext>
            </a:extLst>
          </a:blip>
          <a:srcRect l="69159" r="8579"/>
          <a:stretch/>
        </p:blipFill>
        <p:spPr>
          <a:xfrm>
            <a:off x="7426392" y="0"/>
            <a:ext cx="1717608" cy="5143500"/>
          </a:xfrm>
          <a:prstGeom prst="rect">
            <a:avLst/>
          </a:prstGeom>
        </p:spPr>
      </p:pic>
      <p:sp>
        <p:nvSpPr>
          <p:cNvPr id="5" name="object 5"/>
          <p:cNvSpPr txBox="1">
            <a:spLocks noGrp="1"/>
          </p:cNvSpPr>
          <p:nvPr>
            <p:ph type="title"/>
          </p:nvPr>
        </p:nvSpPr>
        <p:spPr>
          <a:xfrm>
            <a:off x="273256" y="817684"/>
            <a:ext cx="1785390" cy="3752534"/>
          </a:xfrm>
          <a:prstGeom prst="rect">
            <a:avLst/>
          </a:prstGeom>
        </p:spPr>
        <p:txBody>
          <a:bodyPr vert="horz" wrap="square" lIns="0" tIns="58643" rIns="0" bIns="0" rtlCol="0" anchor="t" anchorCtr="0">
            <a:spAutoFit/>
          </a:bodyPr>
          <a:lstStyle/>
          <a:p>
            <a:pPr lvl="0" defTabSz="914400">
              <a:lnSpc>
                <a:spcPct val="100000"/>
              </a:lnSpc>
              <a:spcBef>
                <a:spcPts val="0"/>
              </a:spcBef>
              <a:defRPr/>
            </a:pPr>
            <a:r>
              <a:rPr lang="en-US" sz="1600" kern="1200" spc="62">
                <a:solidFill>
                  <a:schemeClr val="accent1"/>
                </a:solidFill>
              </a:rPr>
              <a:t>E.ON is an international, privately owned energy supplier based in Essen, Germany. </a:t>
            </a:r>
            <a:br>
              <a:rPr lang="en-US" sz="1600" kern="1200" spc="62">
                <a:solidFill>
                  <a:schemeClr val="accent1"/>
                </a:solidFill>
              </a:rPr>
            </a:br>
            <a:br>
              <a:rPr lang="en-US" sz="1600" kern="1200" spc="62">
                <a:solidFill>
                  <a:schemeClr val="accent1"/>
                </a:solidFill>
              </a:rPr>
            </a:br>
            <a:r>
              <a:rPr lang="en-US" sz="1600" kern="1200" spc="62">
                <a:solidFill>
                  <a:schemeClr val="accent1"/>
                </a:solidFill>
              </a:rPr>
              <a:t>With a clear focus on two strong core businesses, we aim to become the partner of choice for energy and customer solutions. </a:t>
            </a:r>
          </a:p>
        </p:txBody>
      </p:sp>
      <p:sp>
        <p:nvSpPr>
          <p:cNvPr id="7" name="object 7"/>
          <p:cNvSpPr txBox="1"/>
          <p:nvPr/>
        </p:nvSpPr>
        <p:spPr>
          <a:xfrm>
            <a:off x="2391951" y="3769837"/>
            <a:ext cx="1479924" cy="790185"/>
          </a:xfrm>
          <a:prstGeom prst="rect">
            <a:avLst/>
          </a:prstGeom>
        </p:spPr>
        <p:txBody>
          <a:bodyPr vert="horz" wrap="square" lIns="0" tIns="58643" rIns="0" bIns="0" rtlCol="0">
            <a:spAutoFit/>
          </a:bodyPr>
          <a:lstStyle/>
          <a:p>
            <a:pPr marL="10860" marR="4344" indent="330137" algn="r">
              <a:lnSpc>
                <a:spcPts val="1881"/>
              </a:lnSpc>
              <a:spcBef>
                <a:spcPts val="462"/>
              </a:spcBef>
            </a:pPr>
            <a:r>
              <a:rPr lang="de-DE" sz="2400" spc="-4">
                <a:solidFill>
                  <a:srgbClr val="FFFFFF"/>
                </a:solidFill>
                <a:latin typeface="+mj-lt"/>
                <a:cs typeface="EONBrixSansBlack"/>
              </a:rPr>
              <a:t>72</a:t>
            </a:r>
            <a:r>
              <a:rPr lang="de-DE" sz="1600" spc="-4">
                <a:solidFill>
                  <a:srgbClr val="FFFFFF"/>
                </a:solidFill>
                <a:latin typeface="+mj-lt"/>
                <a:cs typeface="EONBrixSansBlack"/>
              </a:rPr>
              <a:t> </a:t>
            </a:r>
            <a:r>
              <a:rPr lang="de-DE" sz="1600" spc="-4" err="1">
                <a:solidFill>
                  <a:srgbClr val="FFFFFF"/>
                </a:solidFill>
                <a:latin typeface="+mj-lt"/>
                <a:cs typeface="EONBrixSansBlack"/>
              </a:rPr>
              <a:t>thousands</a:t>
            </a:r>
            <a:r>
              <a:rPr lang="de-DE" sz="1600" spc="-4">
                <a:solidFill>
                  <a:srgbClr val="FFFFFF"/>
                </a:solidFill>
                <a:latin typeface="+mj-lt"/>
                <a:cs typeface="EONBrixSansBlack"/>
              </a:rPr>
              <a:t> </a:t>
            </a:r>
            <a:r>
              <a:rPr lang="de-DE" sz="1600" spc="-4" err="1">
                <a:solidFill>
                  <a:srgbClr val="FFFFFF"/>
                </a:solidFill>
                <a:latin typeface="+mj-lt"/>
                <a:cs typeface="EONBrixSansBlack"/>
              </a:rPr>
              <a:t>employees</a:t>
            </a:r>
            <a:endParaRPr sz="1600">
              <a:solidFill>
                <a:schemeClr val="accent1"/>
              </a:solidFill>
              <a:latin typeface="+mj-lt"/>
              <a:cs typeface="EONBrixSansBlack"/>
            </a:endParaRPr>
          </a:p>
        </p:txBody>
      </p:sp>
      <p:sp>
        <p:nvSpPr>
          <p:cNvPr id="8" name="object 8"/>
          <p:cNvSpPr txBox="1"/>
          <p:nvPr/>
        </p:nvSpPr>
        <p:spPr>
          <a:xfrm>
            <a:off x="5745512" y="3737778"/>
            <a:ext cx="1535279" cy="918425"/>
          </a:xfrm>
          <a:prstGeom prst="rect">
            <a:avLst/>
          </a:prstGeom>
        </p:spPr>
        <p:txBody>
          <a:bodyPr vert="horz" wrap="square" lIns="0" tIns="58643" rIns="0" bIns="0" rtlCol="0">
            <a:spAutoFit/>
          </a:bodyPr>
          <a:lstStyle/>
          <a:p>
            <a:pPr marL="59729" marR="4344" indent="-49412" algn="r">
              <a:lnSpc>
                <a:spcPts val="1881"/>
              </a:lnSpc>
              <a:spcBef>
                <a:spcPts val="462"/>
              </a:spcBef>
            </a:pPr>
            <a:r>
              <a:rPr lang="de-DE" sz="2400" spc="-4">
                <a:solidFill>
                  <a:schemeClr val="bg1"/>
                </a:solidFill>
                <a:latin typeface="+mj-lt"/>
                <a:cs typeface="EONBrixSansBlack"/>
              </a:rPr>
              <a:t>51</a:t>
            </a:r>
            <a:r>
              <a:rPr lang="de-DE" sz="1600" spc="-4">
                <a:solidFill>
                  <a:schemeClr val="bg1"/>
                </a:solidFill>
                <a:latin typeface="+mj-lt"/>
                <a:cs typeface="EONBrixSansBlack"/>
              </a:rPr>
              <a:t> </a:t>
            </a:r>
          </a:p>
          <a:p>
            <a:pPr marL="59729" marR="4344" indent="-49412" algn="r">
              <a:lnSpc>
                <a:spcPts val="1881"/>
              </a:lnSpc>
              <a:spcBef>
                <a:spcPts val="462"/>
              </a:spcBef>
            </a:pPr>
            <a:r>
              <a:rPr lang="de-DE" sz="1600" spc="-4" err="1">
                <a:solidFill>
                  <a:schemeClr val="bg1"/>
                </a:solidFill>
                <a:latin typeface="+mj-lt"/>
                <a:cs typeface="EONBrixSansBlack"/>
              </a:rPr>
              <a:t>million</a:t>
            </a:r>
            <a:r>
              <a:rPr lang="de-DE" sz="1600" spc="-4">
                <a:solidFill>
                  <a:schemeClr val="bg1"/>
                </a:solidFill>
                <a:latin typeface="+mj-lt"/>
                <a:cs typeface="EONBrixSansBlack"/>
              </a:rPr>
              <a:t> </a:t>
            </a:r>
          </a:p>
          <a:p>
            <a:pPr marL="59729" marR="4344" indent="-49412" algn="r">
              <a:lnSpc>
                <a:spcPts val="1881"/>
              </a:lnSpc>
              <a:spcBef>
                <a:spcPts val="462"/>
              </a:spcBef>
            </a:pPr>
            <a:r>
              <a:rPr lang="de-DE" sz="1600" spc="-4" err="1">
                <a:solidFill>
                  <a:schemeClr val="bg1"/>
                </a:solidFill>
                <a:latin typeface="+mj-lt"/>
                <a:cs typeface="EONBrixSansBlack"/>
              </a:rPr>
              <a:t>customers</a:t>
            </a:r>
            <a:endParaRPr sz="1600">
              <a:solidFill>
                <a:schemeClr val="bg1"/>
              </a:solidFill>
              <a:latin typeface="+mj-lt"/>
              <a:cs typeface="EONBrixSansBlack"/>
            </a:endParaRPr>
          </a:p>
        </p:txBody>
      </p:sp>
      <p:sp>
        <p:nvSpPr>
          <p:cNvPr id="9" name="object 9"/>
          <p:cNvSpPr txBox="1"/>
          <p:nvPr/>
        </p:nvSpPr>
        <p:spPr>
          <a:xfrm>
            <a:off x="7601347" y="3705717"/>
            <a:ext cx="1442177" cy="918425"/>
          </a:xfrm>
          <a:prstGeom prst="rect">
            <a:avLst/>
          </a:prstGeom>
        </p:spPr>
        <p:txBody>
          <a:bodyPr vert="horz" wrap="square" lIns="0" tIns="58643" rIns="0" bIns="0" rtlCol="0">
            <a:spAutoFit/>
          </a:bodyPr>
          <a:lstStyle>
            <a:defPPr>
              <a:defRPr lang="de-DE"/>
            </a:defPPr>
            <a:lvl1pPr marL="59729" marR="4344" indent="-49412" algn="r">
              <a:lnSpc>
                <a:spcPts val="1881"/>
              </a:lnSpc>
              <a:spcBef>
                <a:spcPts val="462"/>
              </a:spcBef>
              <a:defRPr sz="1881" spc="-4">
                <a:solidFill>
                  <a:schemeClr val="bg1"/>
                </a:solidFill>
                <a:latin typeface="+mj-lt"/>
                <a:cs typeface="EONBrixSansBlack"/>
              </a:defRPr>
            </a:lvl1pPr>
          </a:lstStyle>
          <a:p>
            <a:r>
              <a:rPr lang="en-US" sz="2400"/>
              <a:t>1.6</a:t>
            </a:r>
          </a:p>
          <a:p>
            <a:r>
              <a:rPr lang="en-US" sz="1600"/>
              <a:t>million km </a:t>
            </a:r>
          </a:p>
          <a:p>
            <a:r>
              <a:rPr lang="en-US" sz="1600"/>
              <a:t>of grid</a:t>
            </a:r>
          </a:p>
        </p:txBody>
      </p:sp>
      <p:pic>
        <p:nvPicPr>
          <p:cNvPr id="11" name="Grafik 2">
            <a:extLst>
              <a:ext uri="{FF2B5EF4-FFF2-40B4-BE49-F238E27FC236}">
                <a16:creationId xmlns:a16="http://schemas.microsoft.com/office/drawing/2014/main" id="{C0FB8CF4-56D4-6F52-3C0E-38335451545A}"/>
              </a:ext>
            </a:extLst>
          </p:cNvPr>
          <p:cNvPicPr>
            <a:picLocks noChangeAspect="1"/>
          </p:cNvPicPr>
          <p:nvPr/>
        </p:nvPicPr>
        <p:blipFill rotWithShape="1">
          <a:blip r:embed="rId6">
            <a:extLst>
              <a:ext uri="{28A0092B-C50C-407E-A947-70E740481C1C}">
                <a14:useLocalDpi xmlns:a14="http://schemas.microsoft.com/office/drawing/2010/main" val="0"/>
              </a:ext>
            </a:extLst>
          </a:blip>
          <a:srcRect l="41216" t="33290" r="41351" b="8605"/>
          <a:stretch/>
        </p:blipFill>
        <p:spPr>
          <a:xfrm>
            <a:off x="4009082" y="0"/>
            <a:ext cx="1718120" cy="5143500"/>
          </a:xfrm>
          <a:prstGeom prst="rect">
            <a:avLst/>
          </a:prstGeom>
        </p:spPr>
      </p:pic>
      <p:sp>
        <p:nvSpPr>
          <p:cNvPr id="2" name="Rectangle 1">
            <a:extLst>
              <a:ext uri="{FF2B5EF4-FFF2-40B4-BE49-F238E27FC236}">
                <a16:creationId xmlns:a16="http://schemas.microsoft.com/office/drawing/2014/main" id="{6756305E-6D42-F839-E45B-37B9B1C0D0FE}"/>
              </a:ext>
            </a:extLst>
          </p:cNvPr>
          <p:cNvSpPr/>
          <p:nvPr/>
        </p:nvSpPr>
        <p:spPr>
          <a:xfrm>
            <a:off x="2708791" y="3526348"/>
            <a:ext cx="3036721" cy="1200329"/>
          </a:xfrm>
          <a:prstGeom prst="rect">
            <a:avLst/>
          </a:prstGeom>
        </p:spPr>
        <p:txBody>
          <a:bodyPr wrap="square">
            <a:spAutoFit/>
          </a:bodyPr>
          <a:lstStyle/>
          <a:p>
            <a:pPr lvl="0" algn="r">
              <a:defRPr/>
            </a:pPr>
            <a:r>
              <a:rPr lang="en-US" sz="2400" spc="-4">
                <a:solidFill>
                  <a:schemeClr val="bg1"/>
                </a:solidFill>
                <a:latin typeface="+mj-lt"/>
              </a:rPr>
              <a:t>900</a:t>
            </a:r>
            <a:r>
              <a:rPr lang="en-US" sz="1600" spc="-4">
                <a:solidFill>
                  <a:schemeClr val="bg1"/>
                </a:solidFill>
                <a:latin typeface="+mj-lt"/>
              </a:rPr>
              <a:t> </a:t>
            </a:r>
          </a:p>
          <a:p>
            <a:pPr lvl="0" algn="r">
              <a:defRPr/>
            </a:pPr>
            <a:r>
              <a:rPr lang="en-US" sz="1600" spc="-4">
                <a:solidFill>
                  <a:schemeClr val="bg1"/>
                </a:solidFill>
                <a:latin typeface="+mj-lt"/>
              </a:rPr>
              <a:t>thousands</a:t>
            </a:r>
          </a:p>
          <a:p>
            <a:pPr lvl="0" algn="r">
              <a:defRPr/>
            </a:pPr>
            <a:r>
              <a:rPr lang="en-US" sz="1600" spc="-4">
                <a:solidFill>
                  <a:schemeClr val="bg1"/>
                </a:solidFill>
                <a:latin typeface="+mj-lt"/>
              </a:rPr>
              <a:t>renewable </a:t>
            </a:r>
          </a:p>
          <a:p>
            <a:pPr lvl="0" algn="r">
              <a:defRPr/>
            </a:pPr>
            <a:r>
              <a:rPr lang="en-US" sz="1600" spc="-4">
                <a:solidFill>
                  <a:schemeClr val="bg1"/>
                </a:solidFill>
                <a:latin typeface="+mj-lt"/>
              </a:rPr>
              <a:t>energy plants*</a:t>
            </a:r>
          </a:p>
        </p:txBody>
      </p:sp>
      <p:sp>
        <p:nvSpPr>
          <p:cNvPr id="12" name="TextBox 3">
            <a:extLst>
              <a:ext uri="{FF2B5EF4-FFF2-40B4-BE49-F238E27FC236}">
                <a16:creationId xmlns:a16="http://schemas.microsoft.com/office/drawing/2014/main" id="{75B4044E-0CDF-7FD9-7A59-EEF267DE13E0}"/>
              </a:ext>
            </a:extLst>
          </p:cNvPr>
          <p:cNvSpPr txBox="1"/>
          <p:nvPr/>
        </p:nvSpPr>
        <p:spPr>
          <a:xfrm>
            <a:off x="273256" y="234274"/>
            <a:ext cx="5285627" cy="369332"/>
          </a:xfrm>
          <a:prstGeom prst="rect">
            <a:avLst/>
          </a:prstGeom>
        </p:spPr>
        <p:txBody>
          <a:bodyPr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0000"/>
                </a:solidFill>
                <a:effectLst/>
                <a:uLnTx/>
                <a:uFillTx/>
                <a:latin typeface="EON Brix Sans Black"/>
                <a:ea typeface="+mn-ea"/>
                <a:cs typeface="+mn-cs"/>
              </a:rPr>
              <a:t>About E.ON</a:t>
            </a:r>
          </a:p>
        </p:txBody>
      </p:sp>
      <p:sp>
        <p:nvSpPr>
          <p:cNvPr id="15" name="TextBox 14">
            <a:extLst>
              <a:ext uri="{FF2B5EF4-FFF2-40B4-BE49-F238E27FC236}">
                <a16:creationId xmlns:a16="http://schemas.microsoft.com/office/drawing/2014/main" id="{AB311B7D-D3AC-A362-1EBA-11BD9B6E4FF4}"/>
              </a:ext>
            </a:extLst>
          </p:cNvPr>
          <p:cNvSpPr txBox="1"/>
          <p:nvPr/>
        </p:nvSpPr>
        <p:spPr>
          <a:xfrm>
            <a:off x="6917634" y="4884225"/>
            <a:ext cx="4611756" cy="200055"/>
          </a:xfrm>
          <a:prstGeom prst="rect">
            <a:avLst/>
          </a:prstGeom>
          <a:noFill/>
        </p:spPr>
        <p:txBody>
          <a:bodyPr wrap="square">
            <a:spAutoFit/>
          </a:bodyPr>
          <a:lstStyle/>
          <a:p>
            <a:r>
              <a:rPr lang="en-GB" sz="700" b="0" i="0">
                <a:solidFill>
                  <a:schemeClr val="bg1"/>
                </a:solidFill>
                <a:effectLst/>
                <a:latin typeface="EONBrixSans" panose="020B0500000000000000" pitchFamily="34" charset="77"/>
              </a:rPr>
              <a:t>*connected to E.ON's distribution networks in Germany</a:t>
            </a:r>
            <a:endParaRPr lang="en-DE" sz="700">
              <a:solidFill>
                <a:schemeClr val="bg1"/>
              </a:solidFill>
            </a:endParaRPr>
          </a:p>
        </p:txBody>
      </p:sp>
    </p:spTree>
    <p:extLst>
      <p:ext uri="{BB962C8B-B14F-4D97-AF65-F5344CB8AC3E}">
        <p14:creationId xmlns:p14="http://schemas.microsoft.com/office/powerpoint/2010/main" val="751042389"/>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descr="Ein Bild, das Person, haltend, jung, Mann enthält.&#10;&#10;Automatisch generierte Beschreibung">
            <a:extLst>
              <a:ext uri="{FF2B5EF4-FFF2-40B4-BE49-F238E27FC236}">
                <a16:creationId xmlns:a16="http://schemas.microsoft.com/office/drawing/2014/main" id="{7AD47089-E960-0C4F-9ACC-E4AC4EE32E89}"/>
              </a:ext>
            </a:extLst>
          </p:cNvPr>
          <p:cNvPicPr>
            <a:picLocks noChangeAspect="1"/>
          </p:cNvPicPr>
          <p:nvPr/>
        </p:nvPicPr>
        <p:blipFill rotWithShape="1">
          <a:blip r:embed="rId5">
            <a:extLst>
              <a:ext uri="{28A0092B-C50C-407E-A947-70E740481C1C}">
                <a14:useLocalDpi xmlns:a14="http://schemas.microsoft.com/office/drawing/2010/main" val="0"/>
              </a:ext>
            </a:extLst>
          </a:blip>
          <a:srcRect l="2536" t="4598" r="1786" b="9899"/>
          <a:stretch/>
        </p:blipFill>
        <p:spPr>
          <a:xfrm>
            <a:off x="5612674" y="1311537"/>
            <a:ext cx="2286000" cy="1354383"/>
          </a:xfrm>
          <a:prstGeom prst="rect">
            <a:avLst/>
          </a:prstGeom>
        </p:spPr>
      </p:pic>
      <p:pic>
        <p:nvPicPr>
          <p:cNvPr id="18" name="Grafik 17" descr="Ein Bild, das Person, drinnen, Mann, stehend enthält.&#10;&#10;Automatisch generierte Beschreibung">
            <a:extLst>
              <a:ext uri="{FF2B5EF4-FFF2-40B4-BE49-F238E27FC236}">
                <a16:creationId xmlns:a16="http://schemas.microsoft.com/office/drawing/2014/main" id="{586AC8CC-0170-1040-B9AA-119BFECD747A}"/>
              </a:ext>
            </a:extLst>
          </p:cNvPr>
          <p:cNvPicPr>
            <a:picLocks noChangeAspect="1"/>
          </p:cNvPicPr>
          <p:nvPr/>
        </p:nvPicPr>
        <p:blipFill rotWithShape="1">
          <a:blip r:embed="rId6">
            <a:extLst>
              <a:ext uri="{28A0092B-C50C-407E-A947-70E740481C1C}">
                <a14:useLocalDpi xmlns:a14="http://schemas.microsoft.com/office/drawing/2010/main" val="0"/>
              </a:ext>
            </a:extLst>
          </a:blip>
          <a:srcRect l="4365" r="20421" b="33120"/>
          <a:stretch/>
        </p:blipFill>
        <p:spPr>
          <a:xfrm>
            <a:off x="3326674" y="1311268"/>
            <a:ext cx="2286000" cy="1354652"/>
          </a:xfrm>
          <a:prstGeom prst="rect">
            <a:avLst/>
          </a:prstGeom>
        </p:spPr>
      </p:pic>
      <p:graphicFrame>
        <p:nvGraphicFramePr>
          <p:cNvPr id="4" name="Objekt 3" hidden="1">
            <a:extLst>
              <a:ext uri="{FF2B5EF4-FFF2-40B4-BE49-F238E27FC236}">
                <a16:creationId xmlns:a16="http://schemas.microsoft.com/office/drawing/2014/main" id="{28E5B3A5-C768-436B-966A-E4A94E2C3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216" imgH="216" progId="TCLayout.ActiveDocument.1">
                  <p:embed/>
                </p:oleObj>
              </mc:Choice>
              <mc:Fallback>
                <p:oleObj name="think-cell Folie" r:id="rId7" imgW="216" imgH="216" progId="TCLayout.ActiveDocument.1">
                  <p:embed/>
                  <p:pic>
                    <p:nvPicPr>
                      <p:cNvPr id="4" name="Objekt 3" hidden="1">
                        <a:extLst>
                          <a:ext uri="{FF2B5EF4-FFF2-40B4-BE49-F238E27FC236}">
                            <a16:creationId xmlns:a16="http://schemas.microsoft.com/office/drawing/2014/main" id="{28E5B3A5-C768-436B-966A-E4A94E2C35C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FEC994B-7602-4CDD-8FFF-2A9BB07A5AA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US" sz="2400">
              <a:latin typeface="EON Brix Sans Black" panose="020B0A00000000000000" pitchFamily="34" charset="0"/>
              <a:ea typeface="+mj-ea"/>
              <a:cs typeface="+mj-cs"/>
              <a:sym typeface="EON Brix Sans Black" panose="020B0A00000000000000" pitchFamily="34" charset="0"/>
            </a:endParaRPr>
          </a:p>
        </p:txBody>
      </p:sp>
      <p:sp>
        <p:nvSpPr>
          <p:cNvPr id="2" name="Titel 1"/>
          <p:cNvSpPr>
            <a:spLocks noGrp="1"/>
          </p:cNvSpPr>
          <p:nvPr>
            <p:ph type="title"/>
          </p:nvPr>
        </p:nvSpPr>
        <p:spPr>
          <a:xfrm>
            <a:off x="377999" y="378000"/>
            <a:ext cx="7770578" cy="374030"/>
          </a:xfrm>
        </p:spPr>
        <p:txBody>
          <a:bodyPr/>
          <a:lstStyle/>
          <a:p>
            <a:pPr lvl="0" defTabSz="914400">
              <a:lnSpc>
                <a:spcPct val="100000"/>
              </a:lnSpc>
              <a:spcBef>
                <a:spcPts val="0"/>
              </a:spcBef>
              <a:defRPr/>
            </a:pPr>
            <a:r>
              <a:rPr lang="en-US" kern="1200">
                <a:solidFill>
                  <a:srgbClr val="FF0000"/>
                </a:solidFill>
              </a:rPr>
              <a:t>E.ON key strategy priorities</a:t>
            </a:r>
          </a:p>
        </p:txBody>
      </p:sp>
      <p:sp>
        <p:nvSpPr>
          <p:cNvPr id="21" name="Textfeld 20">
            <a:extLst>
              <a:ext uri="{FF2B5EF4-FFF2-40B4-BE49-F238E27FC236}">
                <a16:creationId xmlns:a16="http://schemas.microsoft.com/office/drawing/2014/main" id="{310F2846-9422-468D-941E-AE95ED82A256}"/>
              </a:ext>
            </a:extLst>
          </p:cNvPr>
          <p:cNvSpPr txBox="1"/>
          <p:nvPr/>
        </p:nvSpPr>
        <p:spPr>
          <a:xfrm>
            <a:off x="674384" y="2665927"/>
            <a:ext cx="2585310" cy="2176039"/>
          </a:xfrm>
          <a:prstGeom prst="rect">
            <a:avLst/>
          </a:prstGeom>
          <a:solidFill>
            <a:srgbClr val="E3E000"/>
          </a:solidFill>
        </p:spPr>
        <p:txBody>
          <a:bodyPr wrap="square" lIns="252000" tIns="216000" rIns="216000" bIns="72000" rtlCol="0">
            <a:noAutofit/>
          </a:bodyPr>
          <a:lstStyle/>
          <a:p>
            <a:pPr marL="6354">
              <a:spcBef>
                <a:spcPts val="312"/>
              </a:spcBef>
            </a:pPr>
            <a:r>
              <a:rPr lang="en-US" b="1" spc="16">
                <a:solidFill>
                  <a:srgbClr val="B00402"/>
                </a:solidFill>
                <a:latin typeface="EON Brix Sans Black"/>
                <a:cs typeface="EON Brix Sans Black"/>
              </a:rPr>
              <a:t>Growth</a:t>
            </a:r>
          </a:p>
          <a:p>
            <a:pPr>
              <a:buClr>
                <a:schemeClr val="accent1"/>
              </a:buClr>
            </a:pPr>
            <a:endParaRPr lang="en-US" sz="1000">
              <a:solidFill>
                <a:srgbClr val="B00402"/>
              </a:solidFill>
              <a:latin typeface="+mn-lt"/>
            </a:endParaRPr>
          </a:p>
          <a:p>
            <a:pPr>
              <a:buClr>
                <a:schemeClr val="accent1"/>
              </a:buClr>
            </a:pPr>
            <a:r>
              <a:rPr lang="en-GB" sz="1000">
                <a:solidFill>
                  <a:srgbClr val="B00402"/>
                </a:solidFill>
              </a:rPr>
              <a:t>Growth is necessary to build a CO2-free Europe with our customers and partners. Growth is also the prerequisite for sustainable business success. That is why we will invest massively in growth throughout the green, decentralized energy world.</a:t>
            </a:r>
            <a:endParaRPr lang="en-US" sz="1000">
              <a:solidFill>
                <a:srgbClr val="B00402"/>
              </a:solidFill>
            </a:endParaRPr>
          </a:p>
        </p:txBody>
      </p:sp>
      <p:sp>
        <p:nvSpPr>
          <p:cNvPr id="15" name="Textfeld 14">
            <a:extLst>
              <a:ext uri="{FF2B5EF4-FFF2-40B4-BE49-F238E27FC236}">
                <a16:creationId xmlns:a16="http://schemas.microsoft.com/office/drawing/2014/main" id="{FE7A4CD3-A0A8-1747-AED1-8790ECB203C8}"/>
              </a:ext>
            </a:extLst>
          </p:cNvPr>
          <p:cNvSpPr txBox="1"/>
          <p:nvPr/>
        </p:nvSpPr>
        <p:spPr>
          <a:xfrm>
            <a:off x="5846071" y="2665927"/>
            <a:ext cx="2606127" cy="2176039"/>
          </a:xfrm>
          <a:prstGeom prst="rect">
            <a:avLst/>
          </a:prstGeom>
          <a:solidFill>
            <a:schemeClr val="accent1"/>
          </a:solidFill>
        </p:spPr>
        <p:txBody>
          <a:bodyPr wrap="square" lIns="252000" tIns="216000" rIns="216000" bIns="72000" rtlCol="0">
            <a:noAutofit/>
          </a:bodyPr>
          <a:lstStyle/>
          <a:p>
            <a:pPr marL="6354">
              <a:spcBef>
                <a:spcPts val="312"/>
              </a:spcBef>
            </a:pPr>
            <a:r>
              <a:rPr lang="en-US" b="1" spc="16">
                <a:solidFill>
                  <a:schemeClr val="bg1"/>
                </a:solidFill>
                <a:latin typeface="EON Brix Sans Black"/>
                <a:cs typeface="EON Brix Sans Black"/>
              </a:rPr>
              <a:t>Digitalization</a:t>
            </a:r>
          </a:p>
          <a:p>
            <a:pPr>
              <a:buClr>
                <a:schemeClr val="accent1"/>
              </a:buClr>
            </a:pPr>
            <a:r>
              <a:rPr lang="en-US" sz="1000">
                <a:solidFill>
                  <a:schemeClr val="bg1"/>
                </a:solidFill>
              </a:rPr>
              <a:t>Digitalization is the key to us fulfilling our role as a networker and shaper of tomorrow's sustainable energy world. </a:t>
            </a:r>
            <a:r>
              <a:rPr lang="en-US" sz="1000" b="1">
                <a:solidFill>
                  <a:schemeClr val="bg1"/>
                </a:solidFill>
              </a:rPr>
              <a:t>That's why we're digitizing and standardizing the entire system – networks, products, customer interfaces and internal processes – and making E.ON the first "All Digital" energy company.</a:t>
            </a:r>
          </a:p>
        </p:txBody>
      </p:sp>
      <p:sp>
        <p:nvSpPr>
          <p:cNvPr id="16" name="Textfeld 15">
            <a:extLst>
              <a:ext uri="{FF2B5EF4-FFF2-40B4-BE49-F238E27FC236}">
                <a16:creationId xmlns:a16="http://schemas.microsoft.com/office/drawing/2014/main" id="{428928F5-E788-A84C-8061-8D62614FB57C}"/>
              </a:ext>
            </a:extLst>
          </p:cNvPr>
          <p:cNvSpPr txBox="1"/>
          <p:nvPr/>
        </p:nvSpPr>
        <p:spPr>
          <a:xfrm>
            <a:off x="3259698" y="2665927"/>
            <a:ext cx="2586369" cy="2176039"/>
          </a:xfrm>
          <a:prstGeom prst="rect">
            <a:avLst/>
          </a:prstGeom>
          <a:solidFill>
            <a:schemeClr val="accent3"/>
          </a:solidFill>
        </p:spPr>
        <p:txBody>
          <a:bodyPr wrap="square" lIns="252000" tIns="216000" rIns="216000" bIns="72000" rtlCol="0">
            <a:noAutofit/>
          </a:bodyPr>
          <a:lstStyle/>
          <a:p>
            <a:pPr marL="6354">
              <a:spcBef>
                <a:spcPts val="312"/>
              </a:spcBef>
            </a:pPr>
            <a:r>
              <a:rPr lang="en-US" b="1" spc="16">
                <a:solidFill>
                  <a:schemeClr val="bg1"/>
                </a:solidFill>
                <a:latin typeface="EON Brix Sans Black"/>
                <a:cs typeface="EON Brix Sans Black"/>
              </a:rPr>
              <a:t>Sustainability</a:t>
            </a:r>
          </a:p>
          <a:p>
            <a:pPr>
              <a:buClr>
                <a:schemeClr val="accent1"/>
              </a:buClr>
            </a:pPr>
            <a:endParaRPr lang="en-US" sz="1000">
              <a:solidFill>
                <a:schemeClr val="bg1"/>
              </a:solidFill>
              <a:latin typeface="+mn-lt"/>
            </a:endParaRPr>
          </a:p>
          <a:p>
            <a:pPr>
              <a:buClr>
                <a:schemeClr val="accent1"/>
              </a:buClr>
            </a:pPr>
            <a:r>
              <a:rPr lang="en-GB" sz="1000">
                <a:solidFill>
                  <a:schemeClr val="bg1"/>
                </a:solidFill>
              </a:rPr>
              <a:t>Sustainability is at the core of our strategy and – in every dimension – will be the benchmark for our actions in the future. We support our customers in their decarbonization and become climate neutral ourselves.</a:t>
            </a:r>
            <a:endParaRPr lang="en-US" sz="1000">
              <a:solidFill>
                <a:schemeClr val="bg1"/>
              </a:solidFill>
            </a:endParaRPr>
          </a:p>
        </p:txBody>
      </p:sp>
      <p:pic>
        <p:nvPicPr>
          <p:cNvPr id="27" name="Grafik 26">
            <a:extLst>
              <a:ext uri="{FF2B5EF4-FFF2-40B4-BE49-F238E27FC236}">
                <a16:creationId xmlns:a16="http://schemas.microsoft.com/office/drawing/2014/main" id="{B612EB64-1770-8B47-AC39-08304D1DD344}"/>
              </a:ext>
            </a:extLst>
          </p:cNvPr>
          <p:cNvPicPr>
            <a:picLocks noChangeAspect="1"/>
          </p:cNvPicPr>
          <p:nvPr/>
        </p:nvPicPr>
        <p:blipFill rotWithShape="1">
          <a:blip r:embed="rId9"/>
          <a:srcRect l="11497" t="12535" r="3368" b="11637"/>
          <a:stretch/>
        </p:blipFill>
        <p:spPr>
          <a:xfrm>
            <a:off x="1040672" y="1311272"/>
            <a:ext cx="2286000" cy="1354654"/>
          </a:xfrm>
          <a:prstGeom prst="rect">
            <a:avLst/>
          </a:prstGeom>
        </p:spPr>
      </p:pic>
      <p:pic>
        <p:nvPicPr>
          <p:cNvPr id="5" name="Picture 4">
            <a:extLst>
              <a:ext uri="{FF2B5EF4-FFF2-40B4-BE49-F238E27FC236}">
                <a16:creationId xmlns:a16="http://schemas.microsoft.com/office/drawing/2014/main" id="{29440A31-E114-12C4-C499-36DBD59FA389}"/>
              </a:ext>
            </a:extLst>
          </p:cNvPr>
          <p:cNvPicPr>
            <a:picLocks noChangeAspect="1"/>
          </p:cNvPicPr>
          <p:nvPr/>
        </p:nvPicPr>
        <p:blipFill rotWithShape="1">
          <a:blip r:embed="rId10"/>
          <a:srcRect r="69472" b="71921"/>
          <a:stretch/>
        </p:blipFill>
        <p:spPr>
          <a:xfrm>
            <a:off x="648282" y="1197851"/>
            <a:ext cx="2611421" cy="1467529"/>
          </a:xfrm>
          <a:prstGeom prst="rect">
            <a:avLst/>
          </a:prstGeom>
        </p:spPr>
      </p:pic>
      <p:pic>
        <p:nvPicPr>
          <p:cNvPr id="6" name="Picture 5">
            <a:extLst>
              <a:ext uri="{FF2B5EF4-FFF2-40B4-BE49-F238E27FC236}">
                <a16:creationId xmlns:a16="http://schemas.microsoft.com/office/drawing/2014/main" id="{1A8A3DE7-6847-138D-1CF4-67ACAE87B3E3}"/>
              </a:ext>
            </a:extLst>
          </p:cNvPr>
          <p:cNvPicPr>
            <a:picLocks noChangeAspect="1"/>
          </p:cNvPicPr>
          <p:nvPr/>
        </p:nvPicPr>
        <p:blipFill rotWithShape="1">
          <a:blip r:embed="rId10"/>
          <a:srcRect l="34908" t="-92" r="34756" b="71920"/>
          <a:stretch/>
        </p:blipFill>
        <p:spPr>
          <a:xfrm>
            <a:off x="3259703" y="1197851"/>
            <a:ext cx="2586370" cy="1467528"/>
          </a:xfrm>
          <a:prstGeom prst="rect">
            <a:avLst/>
          </a:prstGeom>
        </p:spPr>
      </p:pic>
      <p:pic>
        <p:nvPicPr>
          <p:cNvPr id="7" name="Picture 6">
            <a:extLst>
              <a:ext uri="{FF2B5EF4-FFF2-40B4-BE49-F238E27FC236}">
                <a16:creationId xmlns:a16="http://schemas.microsoft.com/office/drawing/2014/main" id="{1C11574D-6B34-787C-95FD-15F6393A328F}"/>
              </a:ext>
            </a:extLst>
          </p:cNvPr>
          <p:cNvPicPr>
            <a:picLocks noChangeAspect="1"/>
          </p:cNvPicPr>
          <p:nvPr/>
        </p:nvPicPr>
        <p:blipFill rotWithShape="1">
          <a:blip r:embed="rId10"/>
          <a:srcRect l="69398" t="154" r="39" b="71678"/>
          <a:stretch/>
        </p:blipFill>
        <p:spPr>
          <a:xfrm>
            <a:off x="5846073" y="1197303"/>
            <a:ext cx="2606128" cy="1467528"/>
          </a:xfrm>
          <a:prstGeom prst="rect">
            <a:avLst/>
          </a:prstGeom>
        </p:spPr>
      </p:pic>
    </p:spTree>
    <p:extLst>
      <p:ext uri="{BB962C8B-B14F-4D97-AF65-F5344CB8AC3E}">
        <p14:creationId xmlns:p14="http://schemas.microsoft.com/office/powerpoint/2010/main" val="1030681138"/>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91B783A-D612-AE40-9F25-201F7C5F63B1}"/>
              </a:ext>
            </a:extLst>
          </p:cNvPr>
          <p:cNvSpPr/>
          <p:nvPr/>
        </p:nvSpPr>
        <p:spPr>
          <a:xfrm>
            <a:off x="-1"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3969E55C-BD35-6B40-A72A-81356F93CAAB}"/>
              </a:ext>
            </a:extLst>
          </p:cNvPr>
          <p:cNvSpPr/>
          <p:nvPr/>
        </p:nvSpPr>
        <p:spPr>
          <a:xfrm>
            <a:off x="7973999" y="0"/>
            <a:ext cx="1169999" cy="514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13EEC6D7-6EB1-7B4B-A9FF-A8B599AD2D31}"/>
              </a:ext>
            </a:extLst>
          </p:cNvPr>
          <p:cNvSpPr/>
          <p:nvPr/>
        </p:nvSpPr>
        <p:spPr>
          <a:xfrm>
            <a:off x="880611" y="0"/>
            <a:ext cx="446400" cy="5144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object 5">
            <a:extLst>
              <a:ext uri="{FF2B5EF4-FFF2-40B4-BE49-F238E27FC236}">
                <a16:creationId xmlns:a16="http://schemas.microsoft.com/office/drawing/2014/main" id="{CAEF6CBD-A178-6D46-8BBB-52790870B985}"/>
              </a:ext>
            </a:extLst>
          </p:cNvPr>
          <p:cNvSpPr txBox="1"/>
          <p:nvPr/>
        </p:nvSpPr>
        <p:spPr>
          <a:xfrm>
            <a:off x="370684" y="2106942"/>
            <a:ext cx="8766002" cy="747180"/>
          </a:xfrm>
          <a:prstGeom prst="rect">
            <a:avLst/>
          </a:prstGeom>
        </p:spPr>
        <p:txBody>
          <a:bodyPr vert="horz" wrap="square" lIns="0" tIns="115114" rIns="0" bIns="0" rtlCol="0" anchor="ctr">
            <a:spAutoFit/>
          </a:bodyPr>
          <a:lstStyle/>
          <a:p>
            <a:pPr marL="10860" marR="931768"/>
            <a:r>
              <a:rPr lang="de-DE" sz="4100" spc="-43">
                <a:solidFill>
                  <a:schemeClr val="bg1"/>
                </a:solidFill>
                <a:latin typeface="+mj-lt"/>
                <a:cs typeface="EONBrixSansBlack"/>
              </a:rPr>
              <a:t>More </a:t>
            </a:r>
            <a:r>
              <a:rPr lang="de-DE" sz="4100" spc="-43" err="1">
                <a:solidFill>
                  <a:schemeClr val="bg1"/>
                </a:solidFill>
                <a:latin typeface="+mj-lt"/>
                <a:cs typeface="EONBrixSansBlack"/>
              </a:rPr>
              <a:t>about</a:t>
            </a:r>
            <a:r>
              <a:rPr lang="de-DE" sz="4100" spc="-43">
                <a:solidFill>
                  <a:schemeClr val="bg1"/>
                </a:solidFill>
                <a:latin typeface="+mj-lt"/>
                <a:cs typeface="EONBrixSansBlack"/>
              </a:rPr>
              <a:t> E.ON </a:t>
            </a:r>
            <a:r>
              <a:rPr lang="de-DE" sz="4100" spc="-43" err="1">
                <a:solidFill>
                  <a:schemeClr val="bg1"/>
                </a:solidFill>
                <a:latin typeface="+mj-lt"/>
                <a:cs typeface="EONBrixSansBlack"/>
              </a:rPr>
              <a:t>journey</a:t>
            </a:r>
            <a:endParaRPr lang="de-DE" sz="4100" spc="-43">
              <a:solidFill>
                <a:schemeClr val="bg1"/>
              </a:solidFill>
              <a:latin typeface="+mj-lt"/>
              <a:cs typeface="EONBrixSansBlack"/>
            </a:endParaRPr>
          </a:p>
        </p:txBody>
      </p:sp>
    </p:spTree>
    <p:extLst>
      <p:ext uri="{BB962C8B-B14F-4D97-AF65-F5344CB8AC3E}">
        <p14:creationId xmlns:p14="http://schemas.microsoft.com/office/powerpoint/2010/main" val="297455234"/>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28E5B3A5-C768-436B-966A-E4A94E2C3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4" name="Objekt 3" hidden="1">
                        <a:extLst>
                          <a:ext uri="{FF2B5EF4-FFF2-40B4-BE49-F238E27FC236}">
                            <a16:creationId xmlns:a16="http://schemas.microsoft.com/office/drawing/2014/main" id="{28E5B3A5-C768-436B-966A-E4A94E2C35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1FEC994B-7602-4CDD-8FFF-2A9BB07A5AAA}"/>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500"/>
              </a:lnSpc>
              <a:spcBef>
                <a:spcPct val="0"/>
              </a:spcBef>
              <a:spcAft>
                <a:spcPct val="0"/>
              </a:spcAft>
            </a:pPr>
            <a:endParaRPr lang="en-US" sz="2400">
              <a:latin typeface="EON Brix Sans Black" panose="020B0A00000000000000" pitchFamily="34" charset="0"/>
              <a:ea typeface="+mj-ea"/>
              <a:cs typeface="+mj-cs"/>
              <a:sym typeface="EON Brix Sans Black" panose="020B0A00000000000000" pitchFamily="34" charset="0"/>
            </a:endParaRPr>
          </a:p>
        </p:txBody>
      </p:sp>
      <p:sp>
        <p:nvSpPr>
          <p:cNvPr id="2" name="Titel 1"/>
          <p:cNvSpPr>
            <a:spLocks noGrp="1"/>
          </p:cNvSpPr>
          <p:nvPr>
            <p:ph type="title"/>
          </p:nvPr>
        </p:nvSpPr>
        <p:spPr>
          <a:xfrm>
            <a:off x="377999" y="378000"/>
            <a:ext cx="7770578" cy="374030"/>
          </a:xfrm>
        </p:spPr>
        <p:txBody>
          <a:bodyPr/>
          <a:lstStyle/>
          <a:p>
            <a:r>
              <a:rPr lang="en-US"/>
              <a:t>Our Purpose</a:t>
            </a:r>
          </a:p>
        </p:txBody>
      </p:sp>
      <p:sp>
        <p:nvSpPr>
          <p:cNvPr id="21" name="Textfeld 20">
            <a:extLst>
              <a:ext uri="{FF2B5EF4-FFF2-40B4-BE49-F238E27FC236}">
                <a16:creationId xmlns:a16="http://schemas.microsoft.com/office/drawing/2014/main" id="{310F2846-9422-468D-941E-AE95ED82A256}"/>
              </a:ext>
            </a:extLst>
          </p:cNvPr>
          <p:cNvSpPr txBox="1"/>
          <p:nvPr/>
        </p:nvSpPr>
        <p:spPr>
          <a:xfrm>
            <a:off x="0" y="2459097"/>
            <a:ext cx="2286000" cy="2684403"/>
          </a:xfrm>
          <a:prstGeom prst="rect">
            <a:avLst/>
          </a:prstGeom>
          <a:solidFill>
            <a:srgbClr val="E3E000"/>
          </a:solidFill>
        </p:spPr>
        <p:txBody>
          <a:bodyPr wrap="square" lIns="252000" tIns="216000" rIns="216000" bIns="72000" rtlCol="0">
            <a:noAutofit/>
          </a:bodyPr>
          <a:lstStyle/>
          <a:p>
            <a:pPr marL="6354">
              <a:spcBef>
                <a:spcPts val="312"/>
              </a:spcBef>
            </a:pPr>
            <a:r>
              <a:rPr lang="en-US" b="1" spc="16">
                <a:solidFill>
                  <a:srgbClr val="B00402"/>
                </a:solidFill>
                <a:latin typeface="EON Brix Sans Black"/>
                <a:cs typeface="EON Brix Sans Black"/>
              </a:rPr>
              <a:t>Who?</a:t>
            </a:r>
          </a:p>
          <a:p>
            <a:pPr>
              <a:buClr>
                <a:schemeClr val="accent1"/>
              </a:buClr>
            </a:pPr>
            <a:endParaRPr lang="en-US" sz="1000">
              <a:solidFill>
                <a:srgbClr val="B00402"/>
              </a:solidFill>
              <a:latin typeface="+mn-lt"/>
            </a:endParaRPr>
          </a:p>
          <a:p>
            <a:pPr>
              <a:buClr>
                <a:schemeClr val="accent1"/>
              </a:buClr>
            </a:pPr>
            <a:r>
              <a:rPr lang="en-US" sz="1000">
                <a:solidFill>
                  <a:srgbClr val="B00402"/>
                </a:solidFill>
              </a:rPr>
              <a:t>We are </a:t>
            </a:r>
            <a:r>
              <a:rPr lang="en-US" sz="1000" b="1">
                <a:solidFill>
                  <a:srgbClr val="B00402"/>
                </a:solidFill>
              </a:rPr>
              <a:t>DaRe “Data Readiness”. </a:t>
            </a:r>
          </a:p>
          <a:p>
            <a:pPr>
              <a:buClr>
                <a:schemeClr val="accent1"/>
              </a:buClr>
            </a:pPr>
            <a:endParaRPr lang="en-US" sz="1000">
              <a:solidFill>
                <a:srgbClr val="B00402"/>
              </a:solidFill>
            </a:endParaRPr>
          </a:p>
          <a:p>
            <a:pPr>
              <a:buClr>
                <a:schemeClr val="accent1"/>
              </a:buClr>
            </a:pPr>
            <a:r>
              <a:rPr lang="en-US" sz="1000">
                <a:solidFill>
                  <a:srgbClr val="B00402"/>
                </a:solidFill>
              </a:rPr>
              <a:t>Our Team is part of Strategy and Architecture, dealing with </a:t>
            </a:r>
            <a:r>
              <a:rPr lang="en-US" sz="1000" b="1">
                <a:solidFill>
                  <a:srgbClr val="B00402"/>
                </a:solidFill>
              </a:rPr>
              <a:t>Data Governance and Management @ E.On Group</a:t>
            </a:r>
          </a:p>
        </p:txBody>
      </p:sp>
      <p:sp>
        <p:nvSpPr>
          <p:cNvPr id="15" name="Textfeld 14">
            <a:extLst>
              <a:ext uri="{FF2B5EF4-FFF2-40B4-BE49-F238E27FC236}">
                <a16:creationId xmlns:a16="http://schemas.microsoft.com/office/drawing/2014/main" id="{FE7A4CD3-A0A8-1747-AED1-8790ECB203C8}"/>
              </a:ext>
            </a:extLst>
          </p:cNvPr>
          <p:cNvSpPr txBox="1"/>
          <p:nvPr/>
        </p:nvSpPr>
        <p:spPr>
          <a:xfrm>
            <a:off x="2286000" y="2459097"/>
            <a:ext cx="2286000" cy="2684403"/>
          </a:xfrm>
          <a:prstGeom prst="rect">
            <a:avLst/>
          </a:prstGeom>
          <a:solidFill>
            <a:schemeClr val="accent1"/>
          </a:solidFill>
        </p:spPr>
        <p:txBody>
          <a:bodyPr wrap="square" lIns="252000" tIns="216000" rIns="216000" bIns="72000" rtlCol="0">
            <a:noAutofit/>
          </a:bodyPr>
          <a:lstStyle/>
          <a:p>
            <a:pPr marL="6354">
              <a:spcBef>
                <a:spcPts val="312"/>
              </a:spcBef>
            </a:pPr>
            <a:r>
              <a:rPr lang="en-US" b="1" spc="16">
                <a:solidFill>
                  <a:schemeClr val="bg1"/>
                </a:solidFill>
                <a:latin typeface="EON Brix Sans Black"/>
                <a:cs typeface="EON Brix Sans Black"/>
              </a:rPr>
              <a:t>What?</a:t>
            </a:r>
          </a:p>
          <a:p>
            <a:pPr>
              <a:buClr>
                <a:schemeClr val="accent1"/>
              </a:buClr>
            </a:pPr>
            <a:endParaRPr lang="en-US" sz="1000">
              <a:solidFill>
                <a:schemeClr val="bg1"/>
              </a:solidFill>
              <a:latin typeface="+mn-lt"/>
            </a:endParaRPr>
          </a:p>
          <a:p>
            <a:pPr>
              <a:buClr>
                <a:schemeClr val="accent1"/>
              </a:buClr>
            </a:pPr>
            <a:r>
              <a:rPr lang="en-US" sz="1000">
                <a:solidFill>
                  <a:schemeClr val="bg1"/>
                </a:solidFill>
              </a:rPr>
              <a:t>We provide </a:t>
            </a:r>
            <a:r>
              <a:rPr lang="en-US" sz="1000" b="1">
                <a:solidFill>
                  <a:schemeClr val="bg1"/>
                </a:solidFill>
              </a:rPr>
              <a:t>transparency, direction, and focus with regards to our data</a:t>
            </a:r>
          </a:p>
        </p:txBody>
      </p:sp>
      <p:sp>
        <p:nvSpPr>
          <p:cNvPr id="16" name="Textfeld 15">
            <a:extLst>
              <a:ext uri="{FF2B5EF4-FFF2-40B4-BE49-F238E27FC236}">
                <a16:creationId xmlns:a16="http://schemas.microsoft.com/office/drawing/2014/main" id="{428928F5-E788-A84C-8061-8D62614FB57C}"/>
              </a:ext>
            </a:extLst>
          </p:cNvPr>
          <p:cNvSpPr txBox="1"/>
          <p:nvPr/>
        </p:nvSpPr>
        <p:spPr>
          <a:xfrm>
            <a:off x="4572000" y="2459097"/>
            <a:ext cx="2286000" cy="2684403"/>
          </a:xfrm>
          <a:prstGeom prst="rect">
            <a:avLst/>
          </a:prstGeom>
          <a:solidFill>
            <a:schemeClr val="accent3"/>
          </a:solidFill>
        </p:spPr>
        <p:txBody>
          <a:bodyPr wrap="square" lIns="252000" tIns="216000" rIns="216000" bIns="72000" rtlCol="0" anchor="t">
            <a:noAutofit/>
          </a:bodyPr>
          <a:lstStyle/>
          <a:p>
            <a:pPr marL="6350">
              <a:spcBef>
                <a:spcPts val="312"/>
              </a:spcBef>
            </a:pPr>
            <a:r>
              <a:rPr lang="en-US" b="1" spc="16">
                <a:solidFill>
                  <a:schemeClr val="bg1"/>
                </a:solidFill>
                <a:latin typeface="EON Brix Sans Black"/>
                <a:cs typeface="EON Brix Sans Black"/>
              </a:rPr>
              <a:t>Why?</a:t>
            </a:r>
            <a:endParaRPr lang="de-DE"/>
          </a:p>
          <a:p>
            <a:pPr>
              <a:buClr>
                <a:schemeClr val="accent1"/>
              </a:buClr>
            </a:pPr>
            <a:endParaRPr lang="en-US" sz="1000">
              <a:solidFill>
                <a:schemeClr val="bg1"/>
              </a:solidFill>
              <a:latin typeface="+mn-lt"/>
            </a:endParaRPr>
          </a:p>
          <a:p>
            <a:pPr marL="171450" indent="-171450">
              <a:spcAft>
                <a:spcPts val="1200"/>
              </a:spcAft>
              <a:buFont typeface="Arial" panose="020B0604020202020204" pitchFamily="34" charset="0"/>
              <a:buChar char="•"/>
            </a:pPr>
            <a:r>
              <a:rPr lang="de-DE" sz="1000" err="1">
                <a:solidFill>
                  <a:schemeClr val="bg1"/>
                </a:solidFill>
              </a:rPr>
              <a:t>to</a:t>
            </a:r>
            <a:r>
              <a:rPr lang="de-DE" sz="1000">
                <a:solidFill>
                  <a:schemeClr val="bg1"/>
                </a:solidFill>
              </a:rPr>
              <a:t> </a:t>
            </a:r>
            <a:r>
              <a:rPr lang="de-DE" sz="1000" b="1" err="1">
                <a:solidFill>
                  <a:schemeClr val="bg1"/>
                </a:solidFill>
              </a:rPr>
              <a:t>facilitate</a:t>
            </a:r>
            <a:r>
              <a:rPr lang="de-DE" sz="1000" b="1">
                <a:solidFill>
                  <a:schemeClr val="bg1"/>
                </a:solidFill>
              </a:rPr>
              <a:t>, manage, and </a:t>
            </a:r>
            <a:r>
              <a:rPr lang="de-DE" sz="1000" b="1" err="1">
                <a:solidFill>
                  <a:schemeClr val="bg1"/>
                </a:solidFill>
              </a:rPr>
              <a:t>regulate</a:t>
            </a:r>
            <a:r>
              <a:rPr lang="de-DE" sz="1000" b="1">
                <a:solidFill>
                  <a:schemeClr val="bg1"/>
                </a:solidFill>
              </a:rPr>
              <a:t> </a:t>
            </a:r>
            <a:r>
              <a:rPr lang="de-DE" sz="1000" b="1" err="1">
                <a:solidFill>
                  <a:schemeClr val="bg1"/>
                </a:solidFill>
              </a:rPr>
              <a:t>our</a:t>
            </a:r>
            <a:r>
              <a:rPr lang="de-DE" sz="1000" b="1">
                <a:solidFill>
                  <a:schemeClr val="bg1"/>
                </a:solidFill>
              </a:rPr>
              <a:t> </a:t>
            </a:r>
            <a:r>
              <a:rPr lang="de-DE" sz="1000" b="1" err="1">
                <a:solidFill>
                  <a:schemeClr val="bg1"/>
                </a:solidFill>
              </a:rPr>
              <a:t>data</a:t>
            </a:r>
            <a:r>
              <a:rPr lang="de-DE" sz="1000" b="1">
                <a:solidFill>
                  <a:schemeClr val="bg1"/>
                </a:solidFill>
              </a:rPr>
              <a:t> </a:t>
            </a:r>
          </a:p>
          <a:p>
            <a:pPr marL="171450" indent="-171450">
              <a:spcAft>
                <a:spcPts val="1200"/>
              </a:spcAft>
              <a:buFont typeface="Arial" panose="020B0604020202020204" pitchFamily="34" charset="0"/>
              <a:buChar char="•"/>
            </a:pPr>
            <a:r>
              <a:rPr lang="de-DE" sz="1000" err="1">
                <a:solidFill>
                  <a:schemeClr val="bg1"/>
                </a:solidFill>
              </a:rPr>
              <a:t>to</a:t>
            </a:r>
            <a:r>
              <a:rPr lang="de-DE" sz="1000">
                <a:solidFill>
                  <a:schemeClr val="bg1"/>
                </a:solidFill>
              </a:rPr>
              <a:t> </a:t>
            </a:r>
            <a:r>
              <a:rPr lang="de-DE" sz="1000" err="1">
                <a:solidFill>
                  <a:schemeClr val="bg1"/>
                </a:solidFill>
              </a:rPr>
              <a:t>enable</a:t>
            </a:r>
            <a:r>
              <a:rPr lang="de-DE" sz="1000">
                <a:solidFill>
                  <a:schemeClr val="bg1"/>
                </a:solidFill>
              </a:rPr>
              <a:t> </a:t>
            </a:r>
            <a:r>
              <a:rPr lang="de-DE" sz="1000" err="1">
                <a:solidFill>
                  <a:schemeClr val="bg1"/>
                </a:solidFill>
              </a:rPr>
              <a:t>the</a:t>
            </a:r>
            <a:r>
              <a:rPr lang="de-DE" sz="1000">
                <a:solidFill>
                  <a:schemeClr val="bg1"/>
                </a:solidFill>
              </a:rPr>
              <a:t> E.ON Business </a:t>
            </a:r>
            <a:r>
              <a:rPr lang="de-DE" sz="1000" err="1">
                <a:solidFill>
                  <a:schemeClr val="bg1"/>
                </a:solidFill>
              </a:rPr>
              <a:t>to</a:t>
            </a:r>
            <a:r>
              <a:rPr lang="de-DE" sz="1000">
                <a:solidFill>
                  <a:schemeClr val="bg1"/>
                </a:solidFill>
              </a:rPr>
              <a:t> </a:t>
            </a:r>
            <a:r>
              <a:rPr lang="de-DE" sz="1000" b="1">
                <a:solidFill>
                  <a:schemeClr val="bg1"/>
                </a:solidFill>
              </a:rPr>
              <a:t>monitor, </a:t>
            </a:r>
            <a:r>
              <a:rPr lang="de-DE" sz="1000" b="1" err="1">
                <a:solidFill>
                  <a:schemeClr val="bg1"/>
                </a:solidFill>
              </a:rPr>
              <a:t>protect</a:t>
            </a:r>
            <a:r>
              <a:rPr lang="de-DE" sz="1000" b="1">
                <a:solidFill>
                  <a:schemeClr val="bg1"/>
                </a:solidFill>
              </a:rPr>
              <a:t>, and </a:t>
            </a:r>
            <a:r>
              <a:rPr lang="de-DE" sz="1000" b="1" err="1">
                <a:solidFill>
                  <a:schemeClr val="bg1"/>
                </a:solidFill>
              </a:rPr>
              <a:t>ensure</a:t>
            </a:r>
            <a:r>
              <a:rPr lang="de-DE" sz="1000" b="1">
                <a:solidFill>
                  <a:schemeClr val="bg1"/>
                </a:solidFill>
              </a:rPr>
              <a:t> </a:t>
            </a:r>
            <a:r>
              <a:rPr lang="de-DE" sz="1000" b="1" err="1">
                <a:solidFill>
                  <a:schemeClr val="bg1"/>
                </a:solidFill>
              </a:rPr>
              <a:t>integrity</a:t>
            </a:r>
            <a:r>
              <a:rPr lang="de-DE" sz="1000" b="1">
                <a:solidFill>
                  <a:schemeClr val="bg1"/>
                </a:solidFill>
              </a:rPr>
              <a:t> and </a:t>
            </a:r>
            <a:r>
              <a:rPr lang="de-DE" sz="1000" b="1" err="1">
                <a:solidFill>
                  <a:schemeClr val="bg1"/>
                </a:solidFill>
              </a:rPr>
              <a:t>quality</a:t>
            </a:r>
            <a:r>
              <a:rPr lang="de-DE" sz="1000">
                <a:solidFill>
                  <a:schemeClr val="bg1"/>
                </a:solidFill>
              </a:rPr>
              <a:t> </a:t>
            </a:r>
            <a:r>
              <a:rPr lang="de-DE" sz="1000" err="1">
                <a:solidFill>
                  <a:schemeClr val="bg1"/>
                </a:solidFill>
              </a:rPr>
              <a:t>of</a:t>
            </a:r>
            <a:r>
              <a:rPr lang="de-DE" sz="1000">
                <a:solidFill>
                  <a:schemeClr val="bg1"/>
                </a:solidFill>
              </a:rPr>
              <a:t> </a:t>
            </a:r>
            <a:r>
              <a:rPr lang="de-DE" sz="1000" err="1">
                <a:solidFill>
                  <a:schemeClr val="bg1"/>
                </a:solidFill>
              </a:rPr>
              <a:t>their</a:t>
            </a:r>
            <a:r>
              <a:rPr lang="de-DE" sz="1000">
                <a:solidFill>
                  <a:schemeClr val="bg1"/>
                </a:solidFill>
              </a:rPr>
              <a:t> </a:t>
            </a:r>
            <a:r>
              <a:rPr lang="de-DE" sz="1000" err="1">
                <a:solidFill>
                  <a:schemeClr val="bg1"/>
                </a:solidFill>
              </a:rPr>
              <a:t>data</a:t>
            </a:r>
            <a:endParaRPr lang="de-DE" sz="1000">
              <a:solidFill>
                <a:schemeClr val="bg1"/>
              </a:solidFill>
            </a:endParaRPr>
          </a:p>
          <a:p>
            <a:pPr marL="171450" indent="-171450">
              <a:spcAft>
                <a:spcPts val="1200"/>
              </a:spcAft>
              <a:buFont typeface="Arial" panose="020B0604020202020204" pitchFamily="34" charset="0"/>
              <a:buChar char="•"/>
            </a:pPr>
            <a:r>
              <a:rPr lang="de-DE" sz="1000" err="1">
                <a:solidFill>
                  <a:schemeClr val="bg1"/>
                </a:solidFill>
              </a:rPr>
              <a:t>to</a:t>
            </a:r>
            <a:r>
              <a:rPr lang="de-DE" sz="1000">
                <a:solidFill>
                  <a:schemeClr val="bg1"/>
                </a:solidFill>
              </a:rPr>
              <a:t> </a:t>
            </a:r>
            <a:r>
              <a:rPr lang="de-DE" sz="1000" err="1">
                <a:solidFill>
                  <a:schemeClr val="bg1"/>
                </a:solidFill>
              </a:rPr>
              <a:t>ensure</a:t>
            </a:r>
            <a:r>
              <a:rPr lang="de-DE" sz="1000">
                <a:solidFill>
                  <a:schemeClr val="bg1"/>
                </a:solidFill>
              </a:rPr>
              <a:t> </a:t>
            </a:r>
            <a:r>
              <a:rPr lang="de-DE" sz="1000" b="1" err="1">
                <a:solidFill>
                  <a:schemeClr val="bg1"/>
                </a:solidFill>
              </a:rPr>
              <a:t>enterprise-wide</a:t>
            </a:r>
            <a:r>
              <a:rPr lang="de-DE" sz="1000">
                <a:solidFill>
                  <a:schemeClr val="bg1"/>
                </a:solidFill>
              </a:rPr>
              <a:t> </a:t>
            </a:r>
            <a:r>
              <a:rPr lang="de-DE" sz="1000" err="1">
                <a:solidFill>
                  <a:schemeClr val="bg1"/>
                </a:solidFill>
              </a:rPr>
              <a:t>deployment</a:t>
            </a:r>
            <a:r>
              <a:rPr lang="de-DE" sz="1000">
                <a:solidFill>
                  <a:schemeClr val="bg1"/>
                </a:solidFill>
              </a:rPr>
              <a:t> </a:t>
            </a:r>
            <a:r>
              <a:rPr lang="de-DE" sz="1000" err="1">
                <a:solidFill>
                  <a:schemeClr val="bg1"/>
                </a:solidFill>
              </a:rPr>
              <a:t>of</a:t>
            </a:r>
            <a:r>
              <a:rPr lang="de-DE" sz="1000">
                <a:solidFill>
                  <a:schemeClr val="bg1"/>
                </a:solidFill>
              </a:rPr>
              <a:t> </a:t>
            </a:r>
            <a:r>
              <a:rPr lang="de-DE" sz="1000" err="1">
                <a:solidFill>
                  <a:schemeClr val="bg1"/>
                </a:solidFill>
              </a:rPr>
              <a:t>our</a:t>
            </a:r>
            <a:r>
              <a:rPr lang="de-DE" sz="1000">
                <a:solidFill>
                  <a:schemeClr val="bg1"/>
                </a:solidFill>
              </a:rPr>
              <a:t> </a:t>
            </a:r>
            <a:r>
              <a:rPr lang="de-DE" sz="1000" err="1">
                <a:solidFill>
                  <a:schemeClr val="bg1"/>
                </a:solidFill>
              </a:rPr>
              <a:t>data</a:t>
            </a:r>
            <a:r>
              <a:rPr lang="de-DE" sz="1000">
                <a:solidFill>
                  <a:schemeClr val="bg1"/>
                </a:solidFill>
              </a:rPr>
              <a:t> </a:t>
            </a:r>
            <a:r>
              <a:rPr lang="de-DE" sz="1000" b="1" err="1">
                <a:solidFill>
                  <a:schemeClr val="bg1"/>
                </a:solidFill>
              </a:rPr>
              <a:t>as</a:t>
            </a:r>
            <a:r>
              <a:rPr lang="de-DE" sz="1000" b="1">
                <a:solidFill>
                  <a:schemeClr val="bg1"/>
                </a:solidFill>
              </a:rPr>
              <a:t> a </a:t>
            </a:r>
            <a:r>
              <a:rPr lang="de-DE" sz="1000" b="1" err="1">
                <a:solidFill>
                  <a:schemeClr val="bg1"/>
                </a:solidFill>
              </a:rPr>
              <a:t>strategic</a:t>
            </a:r>
            <a:r>
              <a:rPr lang="de-DE" sz="1000" b="1">
                <a:solidFill>
                  <a:schemeClr val="bg1"/>
                </a:solidFill>
              </a:rPr>
              <a:t> </a:t>
            </a:r>
            <a:r>
              <a:rPr lang="de-DE" sz="1000" b="1" err="1">
                <a:solidFill>
                  <a:schemeClr val="bg1"/>
                </a:solidFill>
              </a:rPr>
              <a:t>asset</a:t>
            </a:r>
            <a:endParaRPr lang="de-DE" sz="1000" b="1">
              <a:solidFill>
                <a:schemeClr val="bg1"/>
              </a:solidFill>
            </a:endParaRPr>
          </a:p>
        </p:txBody>
      </p:sp>
      <p:sp>
        <p:nvSpPr>
          <p:cNvPr id="17" name="Textfeld 16">
            <a:extLst>
              <a:ext uri="{FF2B5EF4-FFF2-40B4-BE49-F238E27FC236}">
                <a16:creationId xmlns:a16="http://schemas.microsoft.com/office/drawing/2014/main" id="{0F0D9F57-8DE3-2546-BAF3-1A17AF7B760C}"/>
              </a:ext>
            </a:extLst>
          </p:cNvPr>
          <p:cNvSpPr txBox="1"/>
          <p:nvPr/>
        </p:nvSpPr>
        <p:spPr>
          <a:xfrm>
            <a:off x="6858000" y="2459097"/>
            <a:ext cx="2286000" cy="2684403"/>
          </a:xfrm>
          <a:prstGeom prst="rect">
            <a:avLst/>
          </a:prstGeom>
          <a:solidFill>
            <a:schemeClr val="accent2"/>
          </a:solidFill>
        </p:spPr>
        <p:txBody>
          <a:bodyPr wrap="square" lIns="252000" tIns="216000" rIns="216000" bIns="72000" rtlCol="0">
            <a:noAutofit/>
          </a:bodyPr>
          <a:lstStyle/>
          <a:p>
            <a:pPr marL="6354">
              <a:spcBef>
                <a:spcPts val="312"/>
              </a:spcBef>
            </a:pPr>
            <a:r>
              <a:rPr lang="en-US" b="1" spc="16">
                <a:solidFill>
                  <a:schemeClr val="bg1"/>
                </a:solidFill>
                <a:latin typeface="EON Brix Sans Black"/>
                <a:cs typeface="EON Brix Sans Black"/>
              </a:rPr>
              <a:t>How?</a:t>
            </a:r>
          </a:p>
          <a:p>
            <a:pPr>
              <a:buClr>
                <a:schemeClr val="accent1"/>
              </a:buClr>
            </a:pPr>
            <a:endParaRPr lang="en-US" sz="1000">
              <a:solidFill>
                <a:schemeClr val="bg1"/>
              </a:solidFill>
              <a:latin typeface="+mn-lt"/>
            </a:endParaRPr>
          </a:p>
          <a:p>
            <a:pPr>
              <a:lnSpc>
                <a:spcPct val="100000"/>
              </a:lnSpc>
              <a:spcAft>
                <a:spcPts val="1200"/>
              </a:spcAft>
            </a:pPr>
            <a:r>
              <a:rPr lang="de-DE" sz="1000" err="1">
                <a:solidFill>
                  <a:srgbClr val="FFFFFF"/>
                </a:solidFill>
              </a:rPr>
              <a:t>by </a:t>
            </a:r>
            <a:r>
              <a:rPr lang="de-DE" sz="1000" b="1" err="1">
                <a:solidFill>
                  <a:srgbClr val="FFFFFF"/>
                </a:solidFill>
              </a:rPr>
              <a:t>developing and establishing the federated Data Governance &amp; Management </a:t>
            </a:r>
            <a:r>
              <a:rPr lang="de-DE" sz="1000" err="1">
                <a:solidFill>
                  <a:srgbClr val="FFFFFF"/>
                </a:solidFill>
              </a:rPr>
              <a:t>capabilities across E.ON</a:t>
            </a:r>
          </a:p>
        </p:txBody>
      </p:sp>
      <p:pic>
        <p:nvPicPr>
          <p:cNvPr id="27" name="Grafik 26">
            <a:extLst>
              <a:ext uri="{FF2B5EF4-FFF2-40B4-BE49-F238E27FC236}">
                <a16:creationId xmlns:a16="http://schemas.microsoft.com/office/drawing/2014/main" id="{B612EB64-1770-8B47-AC39-08304D1DD344}"/>
              </a:ext>
            </a:extLst>
          </p:cNvPr>
          <p:cNvPicPr>
            <a:picLocks noChangeAspect="1"/>
          </p:cNvPicPr>
          <p:nvPr/>
        </p:nvPicPr>
        <p:blipFill rotWithShape="1">
          <a:blip r:embed="rId7"/>
          <a:srcRect l="11497" t="12535" r="3368" b="11637"/>
          <a:stretch/>
        </p:blipFill>
        <p:spPr>
          <a:xfrm>
            <a:off x="-1" y="1104442"/>
            <a:ext cx="2286000" cy="1354654"/>
          </a:xfrm>
          <a:prstGeom prst="rect">
            <a:avLst/>
          </a:prstGeom>
        </p:spPr>
      </p:pic>
      <p:pic>
        <p:nvPicPr>
          <p:cNvPr id="26626" name="Picture 2" descr="GettyImages-1312119575">
            <a:extLst>
              <a:ext uri="{FF2B5EF4-FFF2-40B4-BE49-F238E27FC236}">
                <a16:creationId xmlns:a16="http://schemas.microsoft.com/office/drawing/2014/main" id="{CCBFB952-C523-7F4D-A5DB-DA68022E5A8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1222"/>
          <a:stretch/>
        </p:blipFill>
        <p:spPr bwMode="auto">
          <a:xfrm>
            <a:off x="6857997" y="1104166"/>
            <a:ext cx="2285999" cy="1354654"/>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descr="GettyImages-1169539468">
            <a:extLst>
              <a:ext uri="{FF2B5EF4-FFF2-40B4-BE49-F238E27FC236}">
                <a16:creationId xmlns:a16="http://schemas.microsoft.com/office/drawing/2014/main" id="{48F46F74-42D4-B74D-B229-9C2270B08505}"/>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b="11239"/>
          <a:stretch/>
        </p:blipFill>
        <p:spPr bwMode="auto">
          <a:xfrm>
            <a:off x="4571996" y="1104166"/>
            <a:ext cx="2285997" cy="1354383"/>
          </a:xfrm>
          <a:prstGeom prst="rect">
            <a:avLst/>
          </a:prstGeom>
          <a:noFill/>
          <a:extLst>
            <a:ext uri="{909E8E84-426E-40DD-AFC4-6F175D3DCCD1}">
              <a14:hiddenFill xmlns:a14="http://schemas.microsoft.com/office/drawing/2010/main">
                <a:solidFill>
                  <a:srgbClr val="FFFFFF"/>
                </a:solidFill>
              </a14:hiddenFill>
            </a:ext>
          </a:extLst>
        </p:spPr>
      </p:pic>
      <p:pic>
        <p:nvPicPr>
          <p:cNvPr id="26630" name="Picture 6" descr="GettyImages-1215759549">
            <a:extLst>
              <a:ext uri="{FF2B5EF4-FFF2-40B4-BE49-F238E27FC236}">
                <a16:creationId xmlns:a16="http://schemas.microsoft.com/office/drawing/2014/main" id="{AE2484CC-CCFB-6E4A-AAAD-458382CB855F}"/>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10978"/>
          <a:stretch/>
        </p:blipFill>
        <p:spPr bwMode="auto">
          <a:xfrm>
            <a:off x="2285997" y="1104166"/>
            <a:ext cx="2285996" cy="135438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Logo&#10;&#10;Description automatically generated">
            <a:extLst>
              <a:ext uri="{FF2B5EF4-FFF2-40B4-BE49-F238E27FC236}">
                <a16:creationId xmlns:a16="http://schemas.microsoft.com/office/drawing/2014/main" id="{089DAEB3-335B-4C63-95E4-D54FC0985F3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148577" y="214433"/>
            <a:ext cx="761440" cy="701164"/>
          </a:xfrm>
          <a:prstGeom prst="rect">
            <a:avLst/>
          </a:prstGeom>
        </p:spPr>
      </p:pic>
    </p:spTree>
    <p:extLst>
      <p:ext uri="{BB962C8B-B14F-4D97-AF65-F5344CB8AC3E}">
        <p14:creationId xmlns:p14="http://schemas.microsoft.com/office/powerpoint/2010/main" val="2664601408"/>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5" name="Straight Connector 18">
            <a:extLst>
              <a:ext uri="{FF2B5EF4-FFF2-40B4-BE49-F238E27FC236}">
                <a16:creationId xmlns:a16="http://schemas.microsoft.com/office/drawing/2014/main" id="{1F1BD7ED-4E5E-40C4-A430-AD5BD7346959}"/>
              </a:ext>
            </a:extLst>
          </p:cNvPr>
          <p:cNvCxnSpPr>
            <a:cxnSpLocks/>
            <a:endCxn id="77" idx="1"/>
          </p:cNvCxnSpPr>
          <p:nvPr/>
        </p:nvCxnSpPr>
        <p:spPr>
          <a:xfrm flipV="1">
            <a:off x="-1" y="144033"/>
            <a:ext cx="3862283" cy="27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20">
            <a:extLst>
              <a:ext uri="{FF2B5EF4-FFF2-40B4-BE49-F238E27FC236}">
                <a16:creationId xmlns:a16="http://schemas.microsoft.com/office/drawing/2014/main" id="{0D3204C7-6562-496F-A2BB-63C3DD8527B7}"/>
              </a:ext>
            </a:extLst>
          </p:cNvPr>
          <p:cNvCxnSpPr>
            <a:cxnSpLocks/>
            <a:stCxn id="77" idx="3"/>
          </p:cNvCxnSpPr>
          <p:nvPr/>
        </p:nvCxnSpPr>
        <p:spPr>
          <a:xfrm>
            <a:off x="4523360" y="144033"/>
            <a:ext cx="3866848" cy="278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7" name="Rectangle 24">
            <a:extLst>
              <a:ext uri="{FF2B5EF4-FFF2-40B4-BE49-F238E27FC236}">
                <a16:creationId xmlns:a16="http://schemas.microsoft.com/office/drawing/2014/main" id="{16E92138-0F5B-4B5F-898C-A4BB141683DF}"/>
              </a:ext>
            </a:extLst>
          </p:cNvPr>
          <p:cNvSpPr/>
          <p:nvPr/>
        </p:nvSpPr>
        <p:spPr>
          <a:xfrm>
            <a:off x="3862282" y="34387"/>
            <a:ext cx="661078" cy="219291"/>
          </a:xfrm>
          <a:prstGeom prst="rect">
            <a:avLst/>
          </a:prstGeom>
        </p:spPr>
        <p:txBody>
          <a:bodyPr wrap="none" lIns="68580" tIns="34290" rIns="68580" bIns="3429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75" b="1" i="1" u="none" strike="noStrike" kern="1200" cap="none" spc="0" normalizeH="0" baseline="0" noProof="0">
                <a:ln>
                  <a:noFill/>
                </a:ln>
                <a:solidFill>
                  <a:srgbClr val="FFFFFF"/>
                </a:solidFill>
                <a:effectLst/>
                <a:uLnTx/>
                <a:uFillTx/>
                <a:latin typeface="EON Brix Sans"/>
                <a:ea typeface="+mn-ea"/>
                <a:cs typeface="+mn-cs"/>
              </a:rPr>
              <a:t>Our vision</a:t>
            </a:r>
            <a:endParaRPr kumimoji="0" lang="en-GB" sz="1000" b="0" i="0" u="none" strike="noStrike" kern="1200" cap="none" spc="0" normalizeH="0" baseline="0" noProof="0">
              <a:ln>
                <a:noFill/>
              </a:ln>
              <a:solidFill>
                <a:srgbClr val="FFFFFF"/>
              </a:solidFill>
              <a:effectLst/>
              <a:uLnTx/>
              <a:uFillTx/>
              <a:latin typeface="EON Brix Sans"/>
              <a:ea typeface="+mn-ea"/>
              <a:cs typeface="+mn-cs"/>
            </a:endParaRPr>
          </a:p>
        </p:txBody>
      </p:sp>
      <p:sp>
        <p:nvSpPr>
          <p:cNvPr id="80" name="TextBox 5">
            <a:extLst>
              <a:ext uri="{FF2B5EF4-FFF2-40B4-BE49-F238E27FC236}">
                <a16:creationId xmlns:a16="http://schemas.microsoft.com/office/drawing/2014/main" id="{26ABFD33-E6D0-8440-B048-A5F9A3BBEA51}"/>
              </a:ext>
            </a:extLst>
          </p:cNvPr>
          <p:cNvSpPr txBox="1"/>
          <p:nvPr/>
        </p:nvSpPr>
        <p:spPr>
          <a:xfrm>
            <a:off x="359006" y="332056"/>
            <a:ext cx="8506214" cy="319319"/>
          </a:xfrm>
          <a:prstGeom prst="rect">
            <a:avLst/>
          </a:prstGeom>
        </p:spPr>
        <p:txBody>
          <a:bodyPr vert="horz" lIns="0" tIns="0" rIns="0" bIns="0" rtlCol="0" anchor="t" anchorCtr="0">
            <a:noAutofit/>
          </a:bodyPr>
          <a:lstStyle/>
          <a:p>
            <a:pPr defTabSz="685800"/>
            <a:r>
              <a:rPr lang="en-US" sz="2400" b="1" kern="1200">
                <a:solidFill>
                  <a:srgbClr val="FF0000"/>
                </a:solidFill>
                <a:latin typeface="+mn-lt"/>
                <a:ea typeface="+mn-ea"/>
                <a:cs typeface="+mn-cs"/>
              </a:rPr>
              <a:t>Data Governance &amp; Management at E.ON – Data Readiness Team </a:t>
            </a:r>
          </a:p>
        </p:txBody>
      </p:sp>
      <p:sp>
        <p:nvSpPr>
          <p:cNvPr id="43" name="Rechteck 15">
            <a:extLst>
              <a:ext uri="{FF2B5EF4-FFF2-40B4-BE49-F238E27FC236}">
                <a16:creationId xmlns:a16="http://schemas.microsoft.com/office/drawing/2014/main" id="{0A6F65A3-9E23-4564-AE08-1F2E50B4E289}"/>
              </a:ext>
            </a:extLst>
          </p:cNvPr>
          <p:cNvSpPr/>
          <p:nvPr/>
        </p:nvSpPr>
        <p:spPr>
          <a:xfrm>
            <a:off x="8643671" y="-6927"/>
            <a:ext cx="528885" cy="5152925"/>
          </a:xfrm>
          <a:prstGeom prst="rect">
            <a:avLst/>
          </a:prstGeom>
          <a:solidFill>
            <a:srgbClr val="E3E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defRPr/>
            </a:pPr>
            <a:endParaRPr lang="de-DE" sz="1867">
              <a:solidFill>
                <a:srgbClr val="FFFFFF"/>
              </a:solidFill>
              <a:latin typeface="EON Brix Sans Black" charset="0"/>
              <a:ea typeface="EON Brix Sans Black" charset="0"/>
              <a:cs typeface="EON Brix Sans Black" charset="0"/>
            </a:endParaRPr>
          </a:p>
        </p:txBody>
      </p:sp>
      <p:grpSp>
        <p:nvGrpSpPr>
          <p:cNvPr id="3" name="Group 2">
            <a:extLst>
              <a:ext uri="{FF2B5EF4-FFF2-40B4-BE49-F238E27FC236}">
                <a16:creationId xmlns:a16="http://schemas.microsoft.com/office/drawing/2014/main" id="{701D114D-2D3D-4603-A496-18B910AEB677}"/>
              </a:ext>
            </a:extLst>
          </p:cNvPr>
          <p:cNvGrpSpPr/>
          <p:nvPr/>
        </p:nvGrpSpPr>
        <p:grpSpPr>
          <a:xfrm>
            <a:off x="326534" y="1161336"/>
            <a:ext cx="3482344" cy="545052"/>
            <a:chOff x="435750" y="1009845"/>
            <a:chExt cx="3482344" cy="545052"/>
          </a:xfrm>
        </p:grpSpPr>
        <p:sp>
          <p:nvSpPr>
            <p:cNvPr id="212" name="Textfeld 118">
              <a:extLst>
                <a:ext uri="{FF2B5EF4-FFF2-40B4-BE49-F238E27FC236}">
                  <a16:creationId xmlns:a16="http://schemas.microsoft.com/office/drawing/2014/main" id="{D4FA8E16-228D-432C-9908-DC844523157E}"/>
                </a:ext>
              </a:extLst>
            </p:cNvPr>
            <p:cNvSpPr txBox="1"/>
            <p:nvPr/>
          </p:nvSpPr>
          <p:spPr>
            <a:xfrm>
              <a:off x="975750" y="1009845"/>
              <a:ext cx="2942344" cy="530915"/>
            </a:xfrm>
            <a:prstGeom prst="rect">
              <a:avLst/>
            </a:prstGeom>
            <a:noFill/>
          </p:spPr>
          <p:txBody>
            <a:bodyPr wrap="square" lIns="68580" tIns="34290" rIns="68580" bIns="34290" rtlCol="0" anchor="t">
              <a:spAutoFit/>
            </a:bodyPr>
            <a:lstStyle/>
            <a:p>
              <a:r>
                <a:rPr lang="de-DE" sz="1000" b="1">
                  <a:solidFill>
                    <a:srgbClr val="FF0000"/>
                  </a:solidFill>
                </a:rPr>
                <a:t>ROMINA PYPLACZ (geb. Medici)</a:t>
              </a:r>
            </a:p>
            <a:p>
              <a:r>
                <a:rPr lang="de-DE" sz="1000">
                  <a:solidFill>
                    <a:srgbClr val="FF0000"/>
                  </a:solidFill>
                </a:rPr>
                <a:t>Head </a:t>
              </a:r>
              <a:r>
                <a:rPr lang="de-DE" sz="1000" err="1">
                  <a:solidFill>
                    <a:srgbClr val="FF0000"/>
                  </a:solidFill>
                </a:rPr>
                <a:t>of</a:t>
              </a:r>
              <a:r>
                <a:rPr lang="de-DE" sz="1000">
                  <a:solidFill>
                    <a:srgbClr val="FF0000"/>
                  </a:solidFill>
                </a:rPr>
                <a:t> Data </a:t>
              </a:r>
            </a:p>
            <a:p>
              <a:r>
                <a:rPr lang="de-DE" sz="1000" err="1">
                  <a:solidFill>
                    <a:srgbClr val="FF0000"/>
                  </a:solidFill>
                </a:rPr>
                <a:t>Managament</a:t>
              </a:r>
              <a:r>
                <a:rPr lang="de-DE" sz="1000">
                  <a:solidFill>
                    <a:srgbClr val="FF0000"/>
                  </a:solidFill>
                </a:rPr>
                <a:t> &amp; </a:t>
              </a:r>
              <a:r>
                <a:rPr lang="de-DE" sz="1000" err="1">
                  <a:solidFill>
                    <a:srgbClr val="FF0000"/>
                  </a:solidFill>
                </a:rPr>
                <a:t>Governance</a:t>
              </a:r>
              <a:endParaRPr lang="de-DE" sz="1000">
                <a:solidFill>
                  <a:srgbClr val="FF0000"/>
                </a:solidFill>
              </a:endParaRPr>
            </a:p>
          </p:txBody>
        </p:sp>
        <p:grpSp>
          <p:nvGrpSpPr>
            <p:cNvPr id="213" name="Gruppieren 212">
              <a:extLst>
                <a:ext uri="{FF2B5EF4-FFF2-40B4-BE49-F238E27FC236}">
                  <a16:creationId xmlns:a16="http://schemas.microsoft.com/office/drawing/2014/main" id="{3325A10F-A885-4EAF-9635-CF76067C0024}"/>
                </a:ext>
              </a:extLst>
            </p:cNvPr>
            <p:cNvGrpSpPr/>
            <p:nvPr/>
          </p:nvGrpSpPr>
          <p:grpSpPr>
            <a:xfrm>
              <a:off x="435750" y="1014897"/>
              <a:ext cx="540000" cy="540000"/>
              <a:chOff x="1085094" y="203200"/>
              <a:chExt cx="540000" cy="540000"/>
            </a:xfrm>
          </p:grpSpPr>
          <p:sp>
            <p:nvSpPr>
              <p:cNvPr id="214" name="Ellipse 213">
                <a:extLst>
                  <a:ext uri="{FF2B5EF4-FFF2-40B4-BE49-F238E27FC236}">
                    <a16:creationId xmlns:a16="http://schemas.microsoft.com/office/drawing/2014/main" id="{3B4360B8-1DB0-4546-8732-97471834D0E5}"/>
                  </a:ext>
                </a:extLst>
              </p:cNvPr>
              <p:cNvSpPr/>
              <p:nvPr/>
            </p:nvSpPr>
            <p:spPr>
              <a:xfrm>
                <a:off x="1085094" y="203200"/>
                <a:ext cx="540000" cy="540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5" name="Grafik 12">
                <a:extLst>
                  <a:ext uri="{FF2B5EF4-FFF2-40B4-BE49-F238E27FC236}">
                    <a16:creationId xmlns:a16="http://schemas.microsoft.com/office/drawing/2014/main" id="{ACA17011-0161-4097-AE1F-500CBB4E7FFF}"/>
                  </a:ext>
                </a:extLst>
              </p:cNvPr>
              <p:cNvPicPr>
                <a:picLocks noChangeAspect="1"/>
              </p:cNvPicPr>
              <p:nvPr/>
            </p:nvPicPr>
            <p:blipFill rotWithShape="1">
              <a:blip r:embed="rId3"/>
              <a:srcRect l="15970" t="849" r="4357" b="19477"/>
              <a:stretch/>
            </p:blipFill>
            <p:spPr>
              <a:xfrm>
                <a:off x="1106697" y="223777"/>
                <a:ext cx="504001" cy="504000"/>
              </a:xfrm>
              <a:prstGeom prst="ellipse">
                <a:avLst/>
              </a:prstGeom>
            </p:spPr>
          </p:pic>
        </p:grpSp>
      </p:grpSp>
      <p:sp>
        <p:nvSpPr>
          <p:cNvPr id="207" name="Gebogener Pfeil 37">
            <a:extLst>
              <a:ext uri="{FF2B5EF4-FFF2-40B4-BE49-F238E27FC236}">
                <a16:creationId xmlns:a16="http://schemas.microsoft.com/office/drawing/2014/main" id="{EC3FDADB-DE99-408E-A37A-5CDBA5B5EB12}"/>
              </a:ext>
            </a:extLst>
          </p:cNvPr>
          <p:cNvSpPr/>
          <p:nvPr/>
        </p:nvSpPr>
        <p:spPr bwMode="auto">
          <a:xfrm rot="9143204">
            <a:off x="3170764" y="2276792"/>
            <a:ext cx="1374742" cy="1356670"/>
          </a:xfrm>
          <a:prstGeom prst="circularArrow">
            <a:avLst>
              <a:gd name="adj1" fmla="val 6248"/>
              <a:gd name="adj2" fmla="val 652020"/>
              <a:gd name="adj3" fmla="val 9507921"/>
              <a:gd name="adj4" fmla="val 10436376"/>
              <a:gd name="adj5" fmla="val 8584"/>
            </a:avLst>
          </a:prstGeom>
          <a:solidFill>
            <a:srgbClr val="5CC1C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de-DE"/>
          </a:p>
        </p:txBody>
      </p:sp>
      <p:sp>
        <p:nvSpPr>
          <p:cNvPr id="208" name="Ellipse 207">
            <a:extLst>
              <a:ext uri="{FF2B5EF4-FFF2-40B4-BE49-F238E27FC236}">
                <a16:creationId xmlns:a16="http://schemas.microsoft.com/office/drawing/2014/main" id="{660E92B0-707A-4176-8C5A-2A20878A4E8E}"/>
              </a:ext>
            </a:extLst>
          </p:cNvPr>
          <p:cNvSpPr/>
          <p:nvPr/>
        </p:nvSpPr>
        <p:spPr>
          <a:xfrm>
            <a:off x="3015270" y="2126157"/>
            <a:ext cx="1670229" cy="1670400"/>
          </a:xfrm>
          <a:prstGeom prst="ellipse">
            <a:avLst/>
          </a:prstGeom>
          <a:noFill/>
          <a:ln>
            <a:solidFill>
              <a:srgbClr val="5CC1C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9" name="Textfeld 208">
            <a:extLst>
              <a:ext uri="{FF2B5EF4-FFF2-40B4-BE49-F238E27FC236}">
                <a16:creationId xmlns:a16="http://schemas.microsoft.com/office/drawing/2014/main" id="{D58B30A0-4965-4D02-ABEF-A435E422430D}"/>
              </a:ext>
            </a:extLst>
          </p:cNvPr>
          <p:cNvSpPr txBox="1"/>
          <p:nvPr/>
        </p:nvSpPr>
        <p:spPr>
          <a:xfrm>
            <a:off x="3229648" y="2933047"/>
            <a:ext cx="1237840" cy="369332"/>
          </a:xfrm>
          <a:prstGeom prst="rect">
            <a:avLst/>
          </a:prstGeom>
          <a:noFill/>
        </p:spPr>
        <p:txBody>
          <a:bodyPr wrap="square" rtlCol="0">
            <a:spAutoFit/>
          </a:bodyPr>
          <a:lstStyle/>
          <a:p>
            <a:pPr algn="ctr"/>
            <a:r>
              <a:rPr lang="en-US" sz="900" b="1">
                <a:solidFill>
                  <a:schemeClr val="tx1">
                    <a:lumMod val="75000"/>
                    <a:lumOff val="25000"/>
                  </a:schemeClr>
                </a:solidFill>
              </a:rPr>
              <a:t>Data Governance &amp; Management </a:t>
            </a:r>
            <a:endParaRPr lang="en-US" sz="900" i="1">
              <a:solidFill>
                <a:schemeClr val="tx1">
                  <a:lumMod val="75000"/>
                  <a:lumOff val="25000"/>
                </a:schemeClr>
              </a:solidFill>
            </a:endParaRPr>
          </a:p>
        </p:txBody>
      </p:sp>
      <p:pic>
        <p:nvPicPr>
          <p:cNvPr id="210" name="Picture 2" descr="Logo&#10;&#10;Description automatically generated">
            <a:extLst>
              <a:ext uri="{FF2B5EF4-FFF2-40B4-BE49-F238E27FC236}">
                <a16:creationId xmlns:a16="http://schemas.microsoft.com/office/drawing/2014/main" id="{E4CDA9F7-33ED-433B-8BC6-6104550C4F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88447" y="2499095"/>
            <a:ext cx="549802" cy="506279"/>
          </a:xfrm>
          <a:prstGeom prst="rect">
            <a:avLst/>
          </a:prstGeom>
        </p:spPr>
      </p:pic>
      <p:sp>
        <p:nvSpPr>
          <p:cNvPr id="211" name="Textfeld 118">
            <a:extLst>
              <a:ext uri="{FF2B5EF4-FFF2-40B4-BE49-F238E27FC236}">
                <a16:creationId xmlns:a16="http://schemas.microsoft.com/office/drawing/2014/main" id="{877C427D-6F16-4CAB-BDD0-92B2C8D73A0E}"/>
              </a:ext>
            </a:extLst>
          </p:cNvPr>
          <p:cNvSpPr txBox="1"/>
          <p:nvPr/>
        </p:nvSpPr>
        <p:spPr>
          <a:xfrm>
            <a:off x="4658623" y="1162734"/>
            <a:ext cx="1417503" cy="461665"/>
          </a:xfrm>
          <a:prstGeom prst="rect">
            <a:avLst/>
          </a:prstGeom>
          <a:noFill/>
        </p:spPr>
        <p:txBody>
          <a:bodyPr wrap="square" rtlCol="0">
            <a:spAutoFit/>
          </a:bodyPr>
          <a:lstStyle/>
          <a:p>
            <a:r>
              <a:rPr lang="de-DE" sz="800" b="1">
                <a:solidFill>
                  <a:schemeClr val="tx1">
                    <a:lumMod val="75000"/>
                    <a:lumOff val="25000"/>
                  </a:schemeClr>
                </a:solidFill>
              </a:rPr>
              <a:t>ABHIRAM MUDUNURI</a:t>
            </a:r>
          </a:p>
          <a:p>
            <a:r>
              <a:rPr lang="de-DE" sz="800">
                <a:solidFill>
                  <a:schemeClr val="tx1">
                    <a:lumMod val="75000"/>
                    <a:lumOff val="25000"/>
                  </a:schemeClr>
                </a:solidFill>
              </a:rPr>
              <a:t>Senior Expert </a:t>
            </a:r>
            <a:r>
              <a:rPr lang="en-US" sz="800">
                <a:solidFill>
                  <a:schemeClr val="tx1">
                    <a:lumMod val="75000"/>
                    <a:lumOff val="25000"/>
                  </a:schemeClr>
                </a:solidFill>
              </a:rPr>
              <a:t>Metadata</a:t>
            </a:r>
            <a:r>
              <a:rPr lang="de-DE" sz="800">
                <a:solidFill>
                  <a:schemeClr val="tx1">
                    <a:lumMod val="75000"/>
                    <a:lumOff val="25000"/>
                  </a:schemeClr>
                </a:solidFill>
              </a:rPr>
              <a:t> Management &amp; Governance</a:t>
            </a:r>
          </a:p>
        </p:txBody>
      </p:sp>
      <p:grpSp>
        <p:nvGrpSpPr>
          <p:cNvPr id="216" name="Gruppieren 215">
            <a:extLst>
              <a:ext uri="{FF2B5EF4-FFF2-40B4-BE49-F238E27FC236}">
                <a16:creationId xmlns:a16="http://schemas.microsoft.com/office/drawing/2014/main" id="{4E4808E9-A41B-4A1D-85D3-22B956165144}"/>
              </a:ext>
            </a:extLst>
          </p:cNvPr>
          <p:cNvGrpSpPr/>
          <p:nvPr/>
        </p:nvGrpSpPr>
        <p:grpSpPr>
          <a:xfrm>
            <a:off x="4239314" y="1119343"/>
            <a:ext cx="450000" cy="450000"/>
            <a:chOff x="2606318" y="1594850"/>
            <a:chExt cx="450000" cy="450000"/>
          </a:xfrm>
        </p:grpSpPr>
        <p:sp>
          <p:nvSpPr>
            <p:cNvPr id="217" name="Ellipse 216">
              <a:extLst>
                <a:ext uri="{FF2B5EF4-FFF2-40B4-BE49-F238E27FC236}">
                  <a16:creationId xmlns:a16="http://schemas.microsoft.com/office/drawing/2014/main" id="{39643807-54CD-4A49-AD61-63CE720A935A}"/>
                </a:ext>
              </a:extLst>
            </p:cNvPr>
            <p:cNvSpPr/>
            <p:nvPr/>
          </p:nvSpPr>
          <p:spPr>
            <a:xfrm>
              <a:off x="2606318" y="1594850"/>
              <a:ext cx="450000" cy="45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8" name="Grafik 66">
              <a:extLst>
                <a:ext uri="{FF2B5EF4-FFF2-40B4-BE49-F238E27FC236}">
                  <a16:creationId xmlns:a16="http://schemas.microsoft.com/office/drawing/2014/main" id="{34AB6A41-3F45-49CF-96B1-A2DF3C4E5749}"/>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2617968" y="1609517"/>
              <a:ext cx="432000" cy="420666"/>
            </a:xfrm>
            <a:prstGeom prst="ellipse">
              <a:avLst/>
            </a:prstGeom>
          </p:spPr>
        </p:pic>
      </p:grpSp>
      <p:sp>
        <p:nvSpPr>
          <p:cNvPr id="219" name="Ellipse 218">
            <a:extLst>
              <a:ext uri="{FF2B5EF4-FFF2-40B4-BE49-F238E27FC236}">
                <a16:creationId xmlns:a16="http://schemas.microsoft.com/office/drawing/2014/main" id="{8EB07ACC-08B8-43EC-A57B-445C6FDBA431}"/>
              </a:ext>
            </a:extLst>
          </p:cNvPr>
          <p:cNvSpPr/>
          <p:nvPr/>
        </p:nvSpPr>
        <p:spPr>
          <a:xfrm>
            <a:off x="3540097" y="1614096"/>
            <a:ext cx="683605" cy="684000"/>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Textfeld 219">
            <a:extLst>
              <a:ext uri="{FF2B5EF4-FFF2-40B4-BE49-F238E27FC236}">
                <a16:creationId xmlns:a16="http://schemas.microsoft.com/office/drawing/2014/main" id="{20A4F012-8450-4466-BFD1-1F9FB9D73E26}"/>
              </a:ext>
            </a:extLst>
          </p:cNvPr>
          <p:cNvSpPr txBox="1"/>
          <p:nvPr/>
        </p:nvSpPr>
        <p:spPr>
          <a:xfrm>
            <a:off x="3435585" y="1756257"/>
            <a:ext cx="892628" cy="338554"/>
          </a:xfrm>
          <a:prstGeom prst="rect">
            <a:avLst/>
          </a:prstGeom>
          <a:noFill/>
        </p:spPr>
        <p:txBody>
          <a:bodyPr wrap="square" rtlCol="0">
            <a:spAutoFit/>
          </a:bodyPr>
          <a:lstStyle/>
          <a:p>
            <a:pPr algn="ctr"/>
            <a:r>
              <a:rPr lang="en-US" sz="800" b="1"/>
              <a:t>Data Management </a:t>
            </a:r>
            <a:endParaRPr lang="en-US" sz="800" i="1"/>
          </a:p>
        </p:txBody>
      </p:sp>
      <p:sp>
        <p:nvSpPr>
          <p:cNvPr id="221" name="Textfeld 220">
            <a:extLst>
              <a:ext uri="{FF2B5EF4-FFF2-40B4-BE49-F238E27FC236}">
                <a16:creationId xmlns:a16="http://schemas.microsoft.com/office/drawing/2014/main" id="{E04C24E0-495A-4E74-96B3-4B931846FAA4}"/>
              </a:ext>
            </a:extLst>
          </p:cNvPr>
          <p:cNvSpPr txBox="1"/>
          <p:nvPr/>
        </p:nvSpPr>
        <p:spPr>
          <a:xfrm>
            <a:off x="4252277" y="1613809"/>
            <a:ext cx="2593910" cy="461665"/>
          </a:xfrm>
          <a:prstGeom prst="rect">
            <a:avLst/>
          </a:prstGeom>
          <a:noFill/>
        </p:spPr>
        <p:txBody>
          <a:bodyPr wrap="square" rtlCol="0">
            <a:spAutoFit/>
          </a:bodyPr>
          <a:lstStyle/>
          <a:p>
            <a:pPr marL="108000" indent="-108000" defTabSz="1088449">
              <a:buClr>
                <a:srgbClr val="404040"/>
              </a:buClr>
              <a:buSzPct val="100000"/>
              <a:buFont typeface="EON Brix Sans" panose="020B0500000000000000" pitchFamily="34" charset="0"/>
              <a:buChar char="•"/>
            </a:pPr>
            <a:r>
              <a:rPr lang="de-DE" sz="800" b="1">
                <a:solidFill>
                  <a:schemeClr val="tx1">
                    <a:lumMod val="75000"/>
                    <a:lumOff val="25000"/>
                  </a:schemeClr>
                </a:solidFill>
              </a:rPr>
              <a:t>Data Modeling</a:t>
            </a:r>
          </a:p>
          <a:p>
            <a:pPr marL="108000" indent="-108000" defTabSz="1088449">
              <a:buClr>
                <a:srgbClr val="404040"/>
              </a:buClr>
              <a:buSzPct val="100000"/>
              <a:buFont typeface="EON Brix Sans" panose="020B0500000000000000" pitchFamily="34" charset="0"/>
              <a:buChar char="•"/>
            </a:pPr>
            <a:r>
              <a:rPr lang="de-DE" sz="800" b="1">
                <a:solidFill>
                  <a:schemeClr val="tx1">
                    <a:lumMod val="75000"/>
                    <a:lumOff val="25000"/>
                  </a:schemeClr>
                </a:solidFill>
              </a:rPr>
              <a:t>Meta Data Management (Data Catalogue)</a:t>
            </a:r>
          </a:p>
          <a:p>
            <a:pPr marL="108000" indent="-108000" defTabSz="1088449">
              <a:buClr>
                <a:srgbClr val="404040"/>
              </a:buClr>
              <a:buSzPct val="100000"/>
              <a:buFont typeface="EON Brix Sans" panose="020B0500000000000000" pitchFamily="34" charset="0"/>
              <a:buChar char="•"/>
            </a:pPr>
            <a:r>
              <a:rPr lang="de-DE" sz="800" b="1">
                <a:solidFill>
                  <a:schemeClr val="tx1">
                    <a:lumMod val="75000"/>
                    <a:lumOff val="25000"/>
                  </a:schemeClr>
                </a:solidFill>
              </a:rPr>
              <a:t>Master &amp;  Reference Data Managemen</a:t>
            </a:r>
            <a:r>
              <a:rPr lang="de-DE" sz="800" b="1"/>
              <a:t>t</a:t>
            </a:r>
          </a:p>
        </p:txBody>
      </p:sp>
      <p:sp>
        <p:nvSpPr>
          <p:cNvPr id="222" name="Ellipse 221">
            <a:extLst>
              <a:ext uri="{FF2B5EF4-FFF2-40B4-BE49-F238E27FC236}">
                <a16:creationId xmlns:a16="http://schemas.microsoft.com/office/drawing/2014/main" id="{46DA6A62-7EF4-4D13-A856-9D08BFDB5F01}"/>
              </a:ext>
            </a:extLst>
          </p:cNvPr>
          <p:cNvSpPr/>
          <p:nvPr/>
        </p:nvSpPr>
        <p:spPr>
          <a:xfrm>
            <a:off x="2505732" y="2591047"/>
            <a:ext cx="683605" cy="684000"/>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3" name="Textfeld 222">
            <a:extLst>
              <a:ext uri="{FF2B5EF4-FFF2-40B4-BE49-F238E27FC236}">
                <a16:creationId xmlns:a16="http://schemas.microsoft.com/office/drawing/2014/main" id="{34D6A273-7A41-4EC5-AA9B-81089107D63D}"/>
              </a:ext>
            </a:extLst>
          </p:cNvPr>
          <p:cNvSpPr txBox="1"/>
          <p:nvPr/>
        </p:nvSpPr>
        <p:spPr>
          <a:xfrm>
            <a:off x="2409848" y="2680068"/>
            <a:ext cx="892628" cy="461665"/>
          </a:xfrm>
          <a:prstGeom prst="rect">
            <a:avLst/>
          </a:prstGeom>
          <a:noFill/>
        </p:spPr>
        <p:txBody>
          <a:bodyPr wrap="square" rtlCol="0">
            <a:spAutoFit/>
          </a:bodyPr>
          <a:lstStyle/>
          <a:p>
            <a:pPr algn="ctr"/>
            <a:r>
              <a:rPr lang="en-US" sz="800" b="1"/>
              <a:t>Data Governance &amp; Quality</a:t>
            </a:r>
            <a:endParaRPr lang="en-US" sz="800" i="1"/>
          </a:p>
        </p:txBody>
      </p:sp>
      <p:grpSp>
        <p:nvGrpSpPr>
          <p:cNvPr id="224" name="Gruppieren 223">
            <a:extLst>
              <a:ext uri="{FF2B5EF4-FFF2-40B4-BE49-F238E27FC236}">
                <a16:creationId xmlns:a16="http://schemas.microsoft.com/office/drawing/2014/main" id="{CCCADB49-9568-4444-AA8B-B94D64630F34}"/>
              </a:ext>
            </a:extLst>
          </p:cNvPr>
          <p:cNvGrpSpPr/>
          <p:nvPr/>
        </p:nvGrpSpPr>
        <p:grpSpPr>
          <a:xfrm>
            <a:off x="587136" y="2387130"/>
            <a:ext cx="450000" cy="434913"/>
            <a:chOff x="4836328" y="2535925"/>
            <a:chExt cx="450000" cy="434913"/>
          </a:xfrm>
        </p:grpSpPr>
        <p:sp>
          <p:nvSpPr>
            <p:cNvPr id="225" name="Ellipse 224">
              <a:extLst>
                <a:ext uri="{FF2B5EF4-FFF2-40B4-BE49-F238E27FC236}">
                  <a16:creationId xmlns:a16="http://schemas.microsoft.com/office/drawing/2014/main" id="{63FFD9E6-F74B-48AE-B054-542CF70B3D55}"/>
                </a:ext>
              </a:extLst>
            </p:cNvPr>
            <p:cNvSpPr/>
            <p:nvPr/>
          </p:nvSpPr>
          <p:spPr>
            <a:xfrm>
              <a:off x="4836328" y="2535925"/>
              <a:ext cx="450000" cy="43491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6" name="Grafik 66">
              <a:extLst>
                <a:ext uri="{FF2B5EF4-FFF2-40B4-BE49-F238E27FC236}">
                  <a16:creationId xmlns:a16="http://schemas.microsoft.com/office/drawing/2014/main" id="{58348A79-118F-4466-86C9-264EB21D9789}"/>
                </a:ext>
              </a:extLst>
            </p:cNvPr>
            <p:cNvPicPr>
              <a:picLocks noChangeAspect="1"/>
            </p:cNvPicPr>
            <p:nvPr/>
          </p:nvPicPr>
          <p:blipFill>
            <a:blip r:embed="rId6">
              <a:extLst>
                <a:ext uri="{28A0092B-C50C-407E-A947-70E740481C1C}">
                  <a14:useLocalDpi xmlns:a14="http://schemas.microsoft.com/office/drawing/2010/main" val="0"/>
                </a:ext>
              </a:extLst>
            </a:blip>
            <a:srcRect l="1178" r="1178"/>
            <a:stretch/>
          </p:blipFill>
          <p:spPr>
            <a:xfrm>
              <a:off x="4837054" y="2535925"/>
              <a:ext cx="446632" cy="434913"/>
            </a:xfrm>
            <a:prstGeom prst="ellipse">
              <a:avLst/>
            </a:prstGeom>
          </p:spPr>
        </p:pic>
      </p:grpSp>
      <p:sp>
        <p:nvSpPr>
          <p:cNvPr id="227" name="Textfeld 118">
            <a:extLst>
              <a:ext uri="{FF2B5EF4-FFF2-40B4-BE49-F238E27FC236}">
                <a16:creationId xmlns:a16="http://schemas.microsoft.com/office/drawing/2014/main" id="{7B462B8F-8FE3-40D5-8940-B72248C55AF8}"/>
              </a:ext>
            </a:extLst>
          </p:cNvPr>
          <p:cNvSpPr txBox="1"/>
          <p:nvPr/>
        </p:nvSpPr>
        <p:spPr>
          <a:xfrm>
            <a:off x="1019272" y="2399460"/>
            <a:ext cx="1866336" cy="338554"/>
          </a:xfrm>
          <a:prstGeom prst="rect">
            <a:avLst/>
          </a:prstGeom>
          <a:noFill/>
        </p:spPr>
        <p:txBody>
          <a:bodyPr wrap="square" lIns="91440" tIns="45720" rIns="91440" bIns="45720" rtlCol="0" anchor="t">
            <a:spAutoFit/>
          </a:bodyPr>
          <a:lstStyle/>
          <a:p>
            <a:r>
              <a:rPr lang="de-DE" sz="800" b="1"/>
              <a:t>DR. MARIA GARBUZOVA-SCHLIFTER</a:t>
            </a:r>
          </a:p>
          <a:p>
            <a:pPr marR="0" lvl="0" indent="0" fontAlgn="auto">
              <a:lnSpc>
                <a:spcPct val="100000"/>
              </a:lnSpc>
              <a:spcBef>
                <a:spcPts val="0"/>
              </a:spcBef>
              <a:spcAft>
                <a:spcPts val="0"/>
              </a:spcAft>
              <a:buClrTx/>
              <a:buSzTx/>
              <a:buFontTx/>
              <a:buNone/>
              <a:tabLst/>
              <a:defRPr/>
            </a:pPr>
            <a:r>
              <a:rPr lang="de-DE" sz="800">
                <a:solidFill>
                  <a:schemeClr val="tx1">
                    <a:lumMod val="75000"/>
                    <a:lumOff val="25000"/>
                  </a:schemeClr>
                </a:solidFill>
              </a:rPr>
              <a:t>Global Data </a:t>
            </a:r>
            <a:r>
              <a:rPr lang="en-US" sz="800">
                <a:solidFill>
                  <a:schemeClr val="tx1">
                    <a:lumMod val="75000"/>
                    <a:lumOff val="25000"/>
                  </a:schemeClr>
                </a:solidFill>
              </a:rPr>
              <a:t>Governance</a:t>
            </a:r>
            <a:r>
              <a:rPr lang="de-DE" sz="800">
                <a:solidFill>
                  <a:schemeClr val="tx1">
                    <a:lumMod val="75000"/>
                    <a:lumOff val="25000"/>
                  </a:schemeClr>
                </a:solidFill>
              </a:rPr>
              <a:t> Lead</a:t>
            </a:r>
          </a:p>
        </p:txBody>
      </p:sp>
      <p:sp>
        <p:nvSpPr>
          <p:cNvPr id="228" name="Textfeld 227">
            <a:extLst>
              <a:ext uri="{FF2B5EF4-FFF2-40B4-BE49-F238E27FC236}">
                <a16:creationId xmlns:a16="http://schemas.microsoft.com/office/drawing/2014/main" id="{2FD9218E-220F-4ACA-A8B4-17D4A9A5FACA}"/>
              </a:ext>
            </a:extLst>
          </p:cNvPr>
          <p:cNvSpPr txBox="1"/>
          <p:nvPr/>
        </p:nvSpPr>
        <p:spPr>
          <a:xfrm>
            <a:off x="592886" y="2871279"/>
            <a:ext cx="2593910" cy="461665"/>
          </a:xfrm>
          <a:prstGeom prst="rect">
            <a:avLst/>
          </a:prstGeom>
          <a:noFill/>
        </p:spPr>
        <p:txBody>
          <a:bodyPr wrap="square" rtlCol="0">
            <a:spAutoFit/>
          </a:bodyPr>
          <a:lstStyle/>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Data Governance &amp; Strategy</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Data Regulations &amp; Operationalization</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Data Quality Management Advisory</a:t>
            </a:r>
            <a:endParaRPr lang="en-US" sz="800" b="1"/>
          </a:p>
        </p:txBody>
      </p:sp>
      <p:sp>
        <p:nvSpPr>
          <p:cNvPr id="229" name="Ellipse 228">
            <a:extLst>
              <a:ext uri="{FF2B5EF4-FFF2-40B4-BE49-F238E27FC236}">
                <a16:creationId xmlns:a16="http://schemas.microsoft.com/office/drawing/2014/main" id="{71B1EF1E-6671-4F28-94FB-6959C5727BD4}"/>
              </a:ext>
            </a:extLst>
          </p:cNvPr>
          <p:cNvSpPr/>
          <p:nvPr/>
        </p:nvSpPr>
        <p:spPr>
          <a:xfrm>
            <a:off x="4521895" y="2569500"/>
            <a:ext cx="683605" cy="684000"/>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0" name="Textfeld 229">
            <a:extLst>
              <a:ext uri="{FF2B5EF4-FFF2-40B4-BE49-F238E27FC236}">
                <a16:creationId xmlns:a16="http://schemas.microsoft.com/office/drawing/2014/main" id="{BAC356CE-7B48-4DA5-B537-F5891ABE91B8}"/>
              </a:ext>
            </a:extLst>
          </p:cNvPr>
          <p:cNvSpPr txBox="1"/>
          <p:nvPr/>
        </p:nvSpPr>
        <p:spPr>
          <a:xfrm>
            <a:off x="4452488" y="2680068"/>
            <a:ext cx="828220" cy="461665"/>
          </a:xfrm>
          <a:prstGeom prst="rect">
            <a:avLst/>
          </a:prstGeom>
          <a:noFill/>
        </p:spPr>
        <p:txBody>
          <a:bodyPr wrap="square" rtlCol="0">
            <a:spAutoFit/>
          </a:bodyPr>
          <a:lstStyle/>
          <a:p>
            <a:pPr algn="ctr"/>
            <a:r>
              <a:rPr lang="en-US" sz="800" b="1"/>
              <a:t>Data          Services &amp; Provision </a:t>
            </a:r>
            <a:endParaRPr lang="en-US" sz="800" i="1"/>
          </a:p>
        </p:txBody>
      </p:sp>
      <p:grpSp>
        <p:nvGrpSpPr>
          <p:cNvPr id="231" name="Gruppieren 230">
            <a:extLst>
              <a:ext uri="{FF2B5EF4-FFF2-40B4-BE49-F238E27FC236}">
                <a16:creationId xmlns:a16="http://schemas.microsoft.com/office/drawing/2014/main" id="{40598DCE-E055-45ED-81AE-B2370774921B}"/>
              </a:ext>
            </a:extLst>
          </p:cNvPr>
          <p:cNvGrpSpPr/>
          <p:nvPr/>
        </p:nvGrpSpPr>
        <p:grpSpPr>
          <a:xfrm>
            <a:off x="5252084" y="2321031"/>
            <a:ext cx="450000" cy="450000"/>
            <a:chOff x="1000081" y="2027200"/>
            <a:chExt cx="450000" cy="450000"/>
          </a:xfrm>
        </p:grpSpPr>
        <p:sp>
          <p:nvSpPr>
            <p:cNvPr id="232" name="Ellipse 231">
              <a:extLst>
                <a:ext uri="{FF2B5EF4-FFF2-40B4-BE49-F238E27FC236}">
                  <a16:creationId xmlns:a16="http://schemas.microsoft.com/office/drawing/2014/main" id="{0DA5B4B9-BCEF-45D5-A42B-35F9511C841E}"/>
                </a:ext>
              </a:extLst>
            </p:cNvPr>
            <p:cNvSpPr/>
            <p:nvPr/>
          </p:nvSpPr>
          <p:spPr>
            <a:xfrm>
              <a:off x="1000081" y="2027200"/>
              <a:ext cx="450000" cy="4500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3" name="Grafik 66">
              <a:extLst>
                <a:ext uri="{FF2B5EF4-FFF2-40B4-BE49-F238E27FC236}">
                  <a16:creationId xmlns:a16="http://schemas.microsoft.com/office/drawing/2014/main" id="{D3369AA7-8008-4ED0-B500-F7F6F84AB6C1}"/>
                </a:ext>
              </a:extLst>
            </p:cNvPr>
            <p:cNvPicPr>
              <a:picLocks noChangeAspect="1"/>
            </p:cNvPicPr>
            <p:nvPr/>
          </p:nvPicPr>
          <p:blipFill>
            <a:blip r:embed="rId7">
              <a:extLst>
                <a:ext uri="{28A0092B-C50C-407E-A947-70E740481C1C}">
                  <a14:useLocalDpi xmlns:a14="http://schemas.microsoft.com/office/drawing/2010/main" val="0"/>
                </a:ext>
              </a:extLst>
            </a:blip>
            <a:srcRect t="3630" b="3630"/>
            <a:stretch/>
          </p:blipFill>
          <p:spPr>
            <a:xfrm>
              <a:off x="1010139" y="2039900"/>
              <a:ext cx="434066" cy="422677"/>
            </a:xfrm>
            <a:prstGeom prst="ellipse">
              <a:avLst/>
            </a:prstGeom>
          </p:spPr>
        </p:pic>
      </p:grpSp>
      <p:sp>
        <p:nvSpPr>
          <p:cNvPr id="234" name="Textfeld 118">
            <a:extLst>
              <a:ext uri="{FF2B5EF4-FFF2-40B4-BE49-F238E27FC236}">
                <a16:creationId xmlns:a16="http://schemas.microsoft.com/office/drawing/2014/main" id="{6C802D02-45B4-47CF-BA26-34A4A56FB410}"/>
              </a:ext>
            </a:extLst>
          </p:cNvPr>
          <p:cNvSpPr txBox="1"/>
          <p:nvPr/>
        </p:nvSpPr>
        <p:spPr>
          <a:xfrm>
            <a:off x="5682111" y="2319667"/>
            <a:ext cx="1549482" cy="461665"/>
          </a:xfrm>
          <a:prstGeom prst="rect">
            <a:avLst/>
          </a:prstGeom>
          <a:noFill/>
        </p:spPr>
        <p:txBody>
          <a:bodyPr wrap="square" rtlCol="0">
            <a:spAutoFit/>
          </a:bodyPr>
          <a:lstStyle/>
          <a:p>
            <a:r>
              <a:rPr lang="en-US" sz="800" b="1"/>
              <a:t>CHRISTINE HOFMANN</a:t>
            </a:r>
          </a:p>
          <a:p>
            <a:pPr marR="0" lvl="0" indent="0" fontAlgn="auto">
              <a:lnSpc>
                <a:spcPct val="100000"/>
              </a:lnSpc>
              <a:spcBef>
                <a:spcPts val="0"/>
              </a:spcBef>
              <a:spcAft>
                <a:spcPts val="0"/>
              </a:spcAft>
              <a:buClrTx/>
              <a:buSzTx/>
              <a:buFontTx/>
              <a:buNone/>
              <a:tabLst/>
              <a:defRPr/>
            </a:pPr>
            <a:r>
              <a:rPr lang="en-US" sz="800">
                <a:solidFill>
                  <a:schemeClr val="tx1">
                    <a:lumMod val="75000"/>
                    <a:lumOff val="25000"/>
                  </a:schemeClr>
                </a:solidFill>
              </a:rPr>
              <a:t>Senior Expert Data Acquisition and Data as a Service</a:t>
            </a:r>
          </a:p>
        </p:txBody>
      </p:sp>
      <p:sp>
        <p:nvSpPr>
          <p:cNvPr id="235" name="Textfeld 234">
            <a:extLst>
              <a:ext uri="{FF2B5EF4-FFF2-40B4-BE49-F238E27FC236}">
                <a16:creationId xmlns:a16="http://schemas.microsoft.com/office/drawing/2014/main" id="{D5FA1CD4-629C-42A1-8216-EF3FBB880561}"/>
              </a:ext>
            </a:extLst>
          </p:cNvPr>
          <p:cNvSpPr txBox="1"/>
          <p:nvPr/>
        </p:nvSpPr>
        <p:spPr>
          <a:xfrm>
            <a:off x="5245279" y="2792245"/>
            <a:ext cx="1673834" cy="461665"/>
          </a:xfrm>
          <a:prstGeom prst="rect">
            <a:avLst/>
          </a:prstGeom>
          <a:noFill/>
        </p:spPr>
        <p:txBody>
          <a:bodyPr wrap="square" rtlCol="0">
            <a:spAutoFit/>
          </a:bodyPr>
          <a:lstStyle/>
          <a:p>
            <a:pPr marL="108000" indent="-108000" defTabSz="1088449">
              <a:buClr>
                <a:srgbClr val="404040"/>
              </a:buClr>
              <a:buSzPct val="100000"/>
              <a:buFont typeface="EON Brix Sans" panose="020B0500000000000000" pitchFamily="34" charset="0"/>
              <a:buChar char="•"/>
            </a:pPr>
            <a:r>
              <a:rPr lang="de-DE" sz="800" b="1"/>
              <a:t>Data Migration &amp; Integration </a:t>
            </a:r>
          </a:p>
          <a:p>
            <a:pPr marL="108000" indent="-108000" defTabSz="1088449">
              <a:buClr>
                <a:srgbClr val="404040"/>
              </a:buClr>
              <a:buSzPct val="100000"/>
              <a:buFont typeface="EON Brix Sans" panose="020B0500000000000000" pitchFamily="34" charset="0"/>
              <a:buChar char="•"/>
            </a:pPr>
            <a:r>
              <a:rPr lang="de-DE" sz="800" b="1"/>
              <a:t>Data </a:t>
            </a:r>
            <a:r>
              <a:rPr lang="de-DE" sz="800" b="1" err="1"/>
              <a:t>as</a:t>
            </a:r>
            <a:r>
              <a:rPr lang="de-DE" sz="800" b="1"/>
              <a:t> a Service (DMP)</a:t>
            </a:r>
          </a:p>
          <a:p>
            <a:pPr marL="108000" indent="-108000" defTabSz="1088449">
              <a:buClr>
                <a:srgbClr val="404040"/>
              </a:buClr>
              <a:buSzPct val="100000"/>
              <a:buFont typeface="EON Brix Sans" panose="020B0500000000000000" pitchFamily="34" charset="0"/>
              <a:buChar char="•"/>
            </a:pPr>
            <a:r>
              <a:rPr kumimoji="0" lang="en-US" sz="800" b="1" u="none" strike="noStrike" kern="1200" cap="none" spc="0" normalizeH="0" baseline="0" noProof="0">
                <a:ln>
                  <a:noFill/>
                </a:ln>
                <a:effectLst/>
                <a:uLnTx/>
                <a:uFillTx/>
                <a:latin typeface="EON Brix Sans"/>
                <a:ea typeface="+mn-ea"/>
                <a:cs typeface="+mn-cs"/>
              </a:rPr>
              <a:t>Data Ops - DQ / </a:t>
            </a:r>
            <a:r>
              <a:rPr kumimoji="0" lang="en-US" sz="800" b="1" u="none" strike="noStrike" kern="1200" cap="none" spc="0" normalizeH="0" baseline="0" noProof="0" err="1">
                <a:ln>
                  <a:noFill/>
                </a:ln>
                <a:effectLst/>
                <a:uLnTx/>
                <a:uFillTx/>
                <a:latin typeface="EON Brix Sans"/>
                <a:ea typeface="+mn-ea"/>
                <a:cs typeface="+mn-cs"/>
              </a:rPr>
              <a:t>MaDM</a:t>
            </a:r>
            <a:r>
              <a:rPr kumimoji="0" lang="en-US" sz="800" b="1" u="none" strike="noStrike" kern="1200" cap="none" spc="0" normalizeH="0" baseline="0" noProof="0">
                <a:ln>
                  <a:noFill/>
                </a:ln>
                <a:effectLst/>
                <a:uLnTx/>
                <a:uFillTx/>
                <a:latin typeface="EON Brix Sans"/>
                <a:ea typeface="+mn-ea"/>
                <a:cs typeface="+mn-cs"/>
              </a:rPr>
              <a:t> Services</a:t>
            </a:r>
            <a:endParaRPr kumimoji="0" lang="en-GB" sz="800" b="1" u="none" strike="noStrike" kern="1200" cap="none" spc="0" normalizeH="0" baseline="0" noProof="0">
              <a:ln>
                <a:noFill/>
              </a:ln>
              <a:effectLst/>
              <a:uLnTx/>
              <a:uFillTx/>
              <a:latin typeface="EON Brix Sans"/>
              <a:ea typeface="+mn-ea"/>
              <a:cs typeface="+mn-cs"/>
            </a:endParaRPr>
          </a:p>
        </p:txBody>
      </p:sp>
      <p:sp>
        <p:nvSpPr>
          <p:cNvPr id="236" name="Ellipse 235">
            <a:extLst>
              <a:ext uri="{FF2B5EF4-FFF2-40B4-BE49-F238E27FC236}">
                <a16:creationId xmlns:a16="http://schemas.microsoft.com/office/drawing/2014/main" id="{4256BD70-8437-4659-8D75-9C70EA841F64}"/>
              </a:ext>
            </a:extLst>
          </p:cNvPr>
          <p:cNvSpPr/>
          <p:nvPr/>
        </p:nvSpPr>
        <p:spPr>
          <a:xfrm>
            <a:off x="3516332" y="3585915"/>
            <a:ext cx="683605" cy="684000"/>
          </a:xfrm>
          <a:prstGeom prst="ellipse">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7" name="Textfeld 236">
            <a:extLst>
              <a:ext uri="{FF2B5EF4-FFF2-40B4-BE49-F238E27FC236}">
                <a16:creationId xmlns:a16="http://schemas.microsoft.com/office/drawing/2014/main" id="{DDA2C37D-2FA9-45A8-A052-165EF7133554}"/>
              </a:ext>
            </a:extLst>
          </p:cNvPr>
          <p:cNvSpPr txBox="1"/>
          <p:nvPr/>
        </p:nvSpPr>
        <p:spPr>
          <a:xfrm>
            <a:off x="3429235" y="3679363"/>
            <a:ext cx="892628" cy="461665"/>
          </a:xfrm>
          <a:prstGeom prst="rect">
            <a:avLst/>
          </a:prstGeom>
          <a:noFill/>
        </p:spPr>
        <p:txBody>
          <a:bodyPr wrap="square" rtlCol="0">
            <a:spAutoFit/>
          </a:bodyPr>
          <a:lstStyle/>
          <a:p>
            <a:pPr algn="ctr"/>
            <a:r>
              <a:rPr lang="en-US" sz="800" b="1"/>
              <a:t>Data Management</a:t>
            </a:r>
          </a:p>
          <a:p>
            <a:pPr algn="ctr"/>
            <a:r>
              <a:rPr lang="en-US" sz="800" b="1"/>
              <a:t>Excellence  </a:t>
            </a:r>
            <a:endParaRPr lang="en-US" sz="800" i="1"/>
          </a:p>
        </p:txBody>
      </p:sp>
      <p:grpSp>
        <p:nvGrpSpPr>
          <p:cNvPr id="238" name="Gruppieren 237">
            <a:extLst>
              <a:ext uri="{FF2B5EF4-FFF2-40B4-BE49-F238E27FC236}">
                <a16:creationId xmlns:a16="http://schemas.microsoft.com/office/drawing/2014/main" id="{C57C492F-C78E-46A1-B76E-829E137451C6}"/>
              </a:ext>
            </a:extLst>
          </p:cNvPr>
          <p:cNvGrpSpPr/>
          <p:nvPr/>
        </p:nvGrpSpPr>
        <p:grpSpPr>
          <a:xfrm>
            <a:off x="1593813" y="3836995"/>
            <a:ext cx="450000" cy="434913"/>
            <a:chOff x="1228118" y="3608788"/>
            <a:chExt cx="450000" cy="434913"/>
          </a:xfrm>
        </p:grpSpPr>
        <p:sp>
          <p:nvSpPr>
            <p:cNvPr id="239" name="Ellipse 238">
              <a:extLst>
                <a:ext uri="{FF2B5EF4-FFF2-40B4-BE49-F238E27FC236}">
                  <a16:creationId xmlns:a16="http://schemas.microsoft.com/office/drawing/2014/main" id="{399E4727-C261-45FE-BF68-6408DC9E3A7E}"/>
                </a:ext>
              </a:extLst>
            </p:cNvPr>
            <p:cNvSpPr/>
            <p:nvPr/>
          </p:nvSpPr>
          <p:spPr>
            <a:xfrm>
              <a:off x="1228118" y="3608788"/>
              <a:ext cx="450000" cy="434913"/>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40" name="Grafik 239">
              <a:extLst>
                <a:ext uri="{FF2B5EF4-FFF2-40B4-BE49-F238E27FC236}">
                  <a16:creationId xmlns:a16="http://schemas.microsoft.com/office/drawing/2014/main" id="{D901A03C-C0A0-4757-84E2-9125BF047AAC}"/>
                </a:ext>
              </a:extLst>
            </p:cNvPr>
            <p:cNvPicPr>
              <a:picLocks noChangeAspect="1"/>
            </p:cNvPicPr>
            <p:nvPr/>
          </p:nvPicPr>
          <p:blipFill>
            <a:blip r:embed="rId8">
              <a:extLst>
                <a:ext uri="{28A0092B-C50C-407E-A947-70E740481C1C}">
                  <a14:useLocalDpi xmlns:a14="http://schemas.microsoft.com/office/drawing/2010/main" val="0"/>
                </a:ext>
              </a:extLst>
            </a:blip>
            <a:srcRect t="2703" b="2703"/>
            <a:stretch/>
          </p:blipFill>
          <p:spPr>
            <a:xfrm>
              <a:off x="1244020" y="3625224"/>
              <a:ext cx="427527" cy="416310"/>
            </a:xfrm>
            <a:prstGeom prst="ellipse">
              <a:avLst/>
            </a:prstGeom>
          </p:spPr>
        </p:pic>
      </p:grpSp>
      <p:sp>
        <p:nvSpPr>
          <p:cNvPr id="241" name="Textfeld 118">
            <a:extLst>
              <a:ext uri="{FF2B5EF4-FFF2-40B4-BE49-F238E27FC236}">
                <a16:creationId xmlns:a16="http://schemas.microsoft.com/office/drawing/2014/main" id="{CD19E8A4-2013-44F7-B5BA-88263B47304C}"/>
              </a:ext>
            </a:extLst>
          </p:cNvPr>
          <p:cNvSpPr txBox="1"/>
          <p:nvPr/>
        </p:nvSpPr>
        <p:spPr>
          <a:xfrm>
            <a:off x="2015201" y="3759445"/>
            <a:ext cx="1545202" cy="338554"/>
          </a:xfrm>
          <a:prstGeom prst="rect">
            <a:avLst/>
          </a:prstGeom>
          <a:noFill/>
        </p:spPr>
        <p:txBody>
          <a:bodyPr wrap="square" lIns="91440" tIns="45720" rIns="91440" bIns="45720" rtlCol="0" anchor="t">
            <a:spAutoFit/>
          </a:bodyPr>
          <a:lstStyle/>
          <a:p>
            <a:pPr>
              <a:defRPr/>
            </a:pPr>
            <a:r>
              <a:rPr lang="de-DE" sz="800" b="1"/>
              <a:t>KATERYNA ZABOLOTNA</a:t>
            </a:r>
          </a:p>
          <a:p>
            <a:pPr marR="0" lvl="0" indent="0" fontAlgn="auto">
              <a:lnSpc>
                <a:spcPct val="100000"/>
              </a:lnSpc>
              <a:spcBef>
                <a:spcPts val="0"/>
              </a:spcBef>
              <a:spcAft>
                <a:spcPts val="0"/>
              </a:spcAft>
              <a:buClrTx/>
              <a:buSzTx/>
              <a:buFontTx/>
              <a:buNone/>
              <a:tabLst/>
              <a:defRPr/>
            </a:pPr>
            <a:r>
              <a:rPr lang="de-DE" sz="800"/>
              <a:t>Global DM Excellence Lead,</a:t>
            </a:r>
          </a:p>
        </p:txBody>
      </p:sp>
      <p:sp>
        <p:nvSpPr>
          <p:cNvPr id="242" name="Textfeld 241">
            <a:extLst>
              <a:ext uri="{FF2B5EF4-FFF2-40B4-BE49-F238E27FC236}">
                <a16:creationId xmlns:a16="http://schemas.microsoft.com/office/drawing/2014/main" id="{312E24C4-CF26-492F-93E7-FD61FCF86065}"/>
              </a:ext>
            </a:extLst>
          </p:cNvPr>
          <p:cNvSpPr txBox="1"/>
          <p:nvPr/>
        </p:nvSpPr>
        <p:spPr>
          <a:xfrm>
            <a:off x="1700463" y="4359005"/>
            <a:ext cx="2593910" cy="707886"/>
          </a:xfrm>
          <a:prstGeom prst="rect">
            <a:avLst/>
          </a:prstGeom>
          <a:noFill/>
        </p:spPr>
        <p:txBody>
          <a:bodyPr wrap="square" rtlCol="0">
            <a:spAutoFit/>
          </a:bodyPr>
          <a:lstStyle/>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Maturity &amp; Value Assessment</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Business Development </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Data Capability Management</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Communication &amp; Training</a:t>
            </a:r>
          </a:p>
          <a:p>
            <a:pPr marL="108000" indent="-108000" defTabSz="1088449">
              <a:buClr>
                <a:srgbClr val="404040"/>
              </a:buClr>
              <a:buSzPct val="100000"/>
              <a:buFont typeface="EON Brix Sans" panose="020B0500000000000000" pitchFamily="34" charset="0"/>
              <a:buChar char="•"/>
            </a:pPr>
            <a:r>
              <a:rPr lang="en-US" sz="800" b="1">
                <a:solidFill>
                  <a:schemeClr val="tx1">
                    <a:lumMod val="75000"/>
                    <a:lumOff val="25000"/>
                  </a:schemeClr>
                </a:solidFill>
              </a:rPr>
              <a:t>Performance &amp; Controlling </a:t>
            </a:r>
            <a:endParaRPr lang="en-US" sz="800" b="1"/>
          </a:p>
        </p:txBody>
      </p:sp>
      <p:grpSp>
        <p:nvGrpSpPr>
          <p:cNvPr id="13" name="Gruppieren 12">
            <a:extLst>
              <a:ext uri="{FF2B5EF4-FFF2-40B4-BE49-F238E27FC236}">
                <a16:creationId xmlns:a16="http://schemas.microsoft.com/office/drawing/2014/main" id="{E10D9EAB-47FD-4954-9C17-ECEC373AEC5E}"/>
              </a:ext>
            </a:extLst>
          </p:cNvPr>
          <p:cNvGrpSpPr/>
          <p:nvPr/>
        </p:nvGrpSpPr>
        <p:grpSpPr>
          <a:xfrm>
            <a:off x="6046421" y="3520946"/>
            <a:ext cx="2127996" cy="1257482"/>
            <a:chOff x="6244068" y="3658290"/>
            <a:chExt cx="2127996" cy="1257482"/>
          </a:xfrm>
        </p:grpSpPr>
        <p:grpSp>
          <p:nvGrpSpPr>
            <p:cNvPr id="12" name="Gruppieren 11">
              <a:extLst>
                <a:ext uri="{FF2B5EF4-FFF2-40B4-BE49-F238E27FC236}">
                  <a16:creationId xmlns:a16="http://schemas.microsoft.com/office/drawing/2014/main" id="{49883A68-41EF-4C3E-BA72-87B72C8847D2}"/>
                </a:ext>
              </a:extLst>
            </p:cNvPr>
            <p:cNvGrpSpPr/>
            <p:nvPr/>
          </p:nvGrpSpPr>
          <p:grpSpPr>
            <a:xfrm>
              <a:off x="6244068" y="3658290"/>
              <a:ext cx="1922242" cy="1205735"/>
              <a:chOff x="5257600" y="3588323"/>
              <a:chExt cx="1922242" cy="1205735"/>
            </a:xfrm>
          </p:grpSpPr>
          <p:grpSp>
            <p:nvGrpSpPr>
              <p:cNvPr id="243" name="Group 6">
                <a:extLst>
                  <a:ext uri="{FF2B5EF4-FFF2-40B4-BE49-F238E27FC236}">
                    <a16:creationId xmlns:a16="http://schemas.microsoft.com/office/drawing/2014/main" id="{E356D684-CE67-4030-9A00-1ADFDDC55DD3}"/>
                  </a:ext>
                </a:extLst>
              </p:cNvPr>
              <p:cNvGrpSpPr/>
              <p:nvPr/>
            </p:nvGrpSpPr>
            <p:grpSpPr>
              <a:xfrm>
                <a:off x="5257600" y="3936681"/>
                <a:ext cx="942136" cy="727122"/>
                <a:chOff x="-4016" y="1177435"/>
                <a:chExt cx="2512361" cy="1938992"/>
              </a:xfrm>
            </p:grpSpPr>
            <p:pic>
              <p:nvPicPr>
                <p:cNvPr id="244" name="Picture 7">
                  <a:extLst>
                    <a:ext uri="{FF2B5EF4-FFF2-40B4-BE49-F238E27FC236}">
                      <a16:creationId xmlns:a16="http://schemas.microsoft.com/office/drawing/2014/main" id="{30BCF98B-D143-4879-95C4-E89BBB0C3082}"/>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p:blipFill>
              <p:spPr>
                <a:xfrm>
                  <a:off x="700432" y="2026395"/>
                  <a:ext cx="1091426" cy="1090032"/>
                </a:xfrm>
                <a:prstGeom prst="rect">
                  <a:avLst/>
                </a:prstGeom>
              </p:spPr>
            </p:pic>
            <p:sp>
              <p:nvSpPr>
                <p:cNvPr id="245" name="TextBox 8">
                  <a:extLst>
                    <a:ext uri="{FF2B5EF4-FFF2-40B4-BE49-F238E27FC236}">
                      <a16:creationId xmlns:a16="http://schemas.microsoft.com/office/drawing/2014/main" id="{8214002C-E753-4B2B-852B-1B26763A296B}"/>
                    </a:ext>
                  </a:extLst>
                </p:cNvPr>
                <p:cNvSpPr txBox="1"/>
                <p:nvPr/>
              </p:nvSpPr>
              <p:spPr>
                <a:xfrm>
                  <a:off x="-4016" y="1285344"/>
                  <a:ext cx="2512361" cy="654539"/>
                </a:xfrm>
                <a:prstGeom prst="rect">
                  <a:avLst/>
                </a:prstGeom>
              </p:spPr>
              <p:txBody>
                <a:bodyPr lIns="0" tIns="0" rIns="0" bIns="0" rtlCol="0" anchor="t">
                  <a:spAutoFit/>
                </a:bodyPr>
                <a:lstStyle/>
                <a:p>
                  <a:pPr marL="0" marR="0" lvl="0" indent="0" algn="ctr" defTabSz="914400" rtl="0" eaLnBrk="1" fontAlgn="auto" latinLnBrk="0" hangingPunct="1">
                    <a:lnSpc>
                      <a:spcPts val="2188"/>
                    </a:lnSpc>
                    <a:spcBef>
                      <a:spcPts val="0"/>
                    </a:spcBef>
                    <a:spcAft>
                      <a:spcPts val="0"/>
                    </a:spcAft>
                    <a:buClrTx/>
                    <a:buSzTx/>
                    <a:buFontTx/>
                    <a:buNone/>
                    <a:tabLst/>
                    <a:defRPr/>
                  </a:pPr>
                  <a:r>
                    <a:rPr kumimoji="0" lang="en-US" sz="1000" b="1" i="0" u="none" strike="noStrike" kern="1200" cap="none" spc="175" normalizeH="0" baseline="0" noProof="0">
                      <a:ln>
                        <a:noFill/>
                      </a:ln>
                      <a:solidFill>
                        <a:srgbClr val="000000"/>
                      </a:solidFill>
                      <a:effectLst/>
                      <a:uLnTx/>
                      <a:uFillTx/>
                      <a:latin typeface="EON Brix Sans 1"/>
                      <a:ea typeface="+mn-ea"/>
                      <a:cs typeface="+mn-cs"/>
                    </a:rPr>
                    <a:t>2018</a:t>
                  </a:r>
                </a:p>
              </p:txBody>
            </p:sp>
            <p:sp>
              <p:nvSpPr>
                <p:cNvPr id="246" name="TextBox 9">
                  <a:extLst>
                    <a:ext uri="{FF2B5EF4-FFF2-40B4-BE49-F238E27FC236}">
                      <a16:creationId xmlns:a16="http://schemas.microsoft.com/office/drawing/2014/main" id="{32BF734B-25AC-400C-86C5-28FC4C2DD85C}"/>
                    </a:ext>
                  </a:extLst>
                </p:cNvPr>
                <p:cNvSpPr txBox="1"/>
                <p:nvPr/>
              </p:nvSpPr>
              <p:spPr>
                <a:xfrm>
                  <a:off x="-4016" y="1177435"/>
                  <a:ext cx="2512361" cy="379592"/>
                </a:xfrm>
                <a:prstGeom prst="rect">
                  <a:avLst/>
                </a:prstGeom>
              </p:spPr>
              <p:txBody>
                <a:bodyPr lIns="0" tIns="0" rIns="0" bIns="0" rtlCol="0" anchor="t">
                  <a:spAutoFit/>
                </a:bodyPr>
                <a:lstStyle/>
                <a:p>
                  <a:pPr marL="0" marR="0" lvl="0" indent="0" algn="ctr" defTabSz="914400" rtl="0" eaLnBrk="1" fontAlgn="auto" latinLnBrk="0" hangingPunct="1">
                    <a:lnSpc>
                      <a:spcPts val="1151"/>
                    </a:lnSpc>
                    <a:spcBef>
                      <a:spcPts val="0"/>
                    </a:spcBef>
                    <a:spcAft>
                      <a:spcPts val="0"/>
                    </a:spcAft>
                    <a:buClrTx/>
                    <a:buSzTx/>
                    <a:buFontTx/>
                    <a:buNone/>
                    <a:tabLst/>
                    <a:defRPr/>
                  </a:pPr>
                  <a:r>
                    <a:rPr kumimoji="0" lang="en-US" sz="921" b="0" i="0" u="none" strike="noStrike" kern="1200" cap="none" spc="92" normalizeH="0" baseline="0" noProof="0">
                      <a:ln>
                        <a:noFill/>
                      </a:ln>
                      <a:solidFill>
                        <a:srgbClr val="000000"/>
                      </a:solidFill>
                      <a:effectLst/>
                      <a:uLnTx/>
                      <a:uFillTx/>
                      <a:latin typeface="EON Brix Sans 2 Bold"/>
                      <a:ea typeface="+mn-ea"/>
                      <a:cs typeface="+mn-cs"/>
                    </a:rPr>
                    <a:t>YEAR</a:t>
                  </a:r>
                </a:p>
              </p:txBody>
            </p:sp>
          </p:grpSp>
          <p:grpSp>
            <p:nvGrpSpPr>
              <p:cNvPr id="248" name="Group 6">
                <a:extLst>
                  <a:ext uri="{FF2B5EF4-FFF2-40B4-BE49-F238E27FC236}">
                    <a16:creationId xmlns:a16="http://schemas.microsoft.com/office/drawing/2014/main" id="{66C0A703-846A-4637-BDB8-015428C17110}"/>
                  </a:ext>
                </a:extLst>
              </p:cNvPr>
              <p:cNvGrpSpPr/>
              <p:nvPr/>
            </p:nvGrpSpPr>
            <p:grpSpPr>
              <a:xfrm>
                <a:off x="6103739" y="3588323"/>
                <a:ext cx="942136" cy="293558"/>
                <a:chOff x="-604288" y="890194"/>
                <a:chExt cx="2512361" cy="782822"/>
              </a:xfrm>
            </p:grpSpPr>
            <p:sp>
              <p:nvSpPr>
                <p:cNvPr id="250" name="TextBox 8">
                  <a:extLst>
                    <a:ext uri="{FF2B5EF4-FFF2-40B4-BE49-F238E27FC236}">
                      <a16:creationId xmlns:a16="http://schemas.microsoft.com/office/drawing/2014/main" id="{84962078-D056-4DD3-9F16-2DA78F3778C8}"/>
                    </a:ext>
                  </a:extLst>
                </p:cNvPr>
                <p:cNvSpPr txBox="1"/>
                <p:nvPr/>
              </p:nvSpPr>
              <p:spPr>
                <a:xfrm>
                  <a:off x="-604288" y="1018477"/>
                  <a:ext cx="2512361" cy="654539"/>
                </a:xfrm>
                <a:prstGeom prst="rect">
                  <a:avLst/>
                </a:prstGeom>
              </p:spPr>
              <p:txBody>
                <a:bodyPr lIns="0" tIns="0" rIns="0" bIns="0" rtlCol="0" anchor="t">
                  <a:spAutoFit/>
                </a:bodyPr>
                <a:lstStyle/>
                <a:p>
                  <a:pPr marL="0" marR="0" lvl="0" indent="0" algn="ctr" defTabSz="914400" rtl="0" eaLnBrk="1" fontAlgn="auto" latinLnBrk="0" hangingPunct="1">
                    <a:lnSpc>
                      <a:spcPts val="2188"/>
                    </a:lnSpc>
                    <a:spcBef>
                      <a:spcPts val="0"/>
                    </a:spcBef>
                    <a:spcAft>
                      <a:spcPts val="0"/>
                    </a:spcAft>
                    <a:buClrTx/>
                    <a:buSzTx/>
                    <a:buFontTx/>
                    <a:buNone/>
                    <a:tabLst/>
                    <a:defRPr/>
                  </a:pPr>
                  <a:r>
                    <a:rPr kumimoji="0" lang="en-US" sz="1000" b="1" i="0" u="none" strike="noStrike" kern="1200" cap="none" spc="175" normalizeH="0" baseline="0" noProof="0">
                      <a:ln>
                        <a:noFill/>
                      </a:ln>
                      <a:solidFill>
                        <a:srgbClr val="000000"/>
                      </a:solidFill>
                      <a:effectLst/>
                      <a:uLnTx/>
                      <a:uFillTx/>
                      <a:latin typeface="EON Brix Sans 1"/>
                      <a:ea typeface="+mn-ea"/>
                      <a:cs typeface="+mn-cs"/>
                    </a:rPr>
                    <a:t>2022</a:t>
                  </a:r>
                </a:p>
              </p:txBody>
            </p:sp>
            <p:sp>
              <p:nvSpPr>
                <p:cNvPr id="251" name="TextBox 9">
                  <a:extLst>
                    <a:ext uri="{FF2B5EF4-FFF2-40B4-BE49-F238E27FC236}">
                      <a16:creationId xmlns:a16="http://schemas.microsoft.com/office/drawing/2014/main" id="{47261C8A-D633-443B-8F98-AAFC149BB1BE}"/>
                    </a:ext>
                  </a:extLst>
                </p:cNvPr>
                <p:cNvSpPr txBox="1"/>
                <p:nvPr/>
              </p:nvSpPr>
              <p:spPr>
                <a:xfrm>
                  <a:off x="-604288" y="890194"/>
                  <a:ext cx="2512361" cy="379592"/>
                </a:xfrm>
                <a:prstGeom prst="rect">
                  <a:avLst/>
                </a:prstGeom>
              </p:spPr>
              <p:txBody>
                <a:bodyPr lIns="0" tIns="0" rIns="0" bIns="0" rtlCol="0" anchor="t">
                  <a:spAutoFit/>
                </a:bodyPr>
                <a:lstStyle/>
                <a:p>
                  <a:pPr marL="0" marR="0" lvl="0" indent="0" algn="ctr" defTabSz="914400" rtl="0" eaLnBrk="1" fontAlgn="auto" latinLnBrk="0" hangingPunct="1">
                    <a:lnSpc>
                      <a:spcPts val="1151"/>
                    </a:lnSpc>
                    <a:spcBef>
                      <a:spcPts val="0"/>
                    </a:spcBef>
                    <a:spcAft>
                      <a:spcPts val="0"/>
                    </a:spcAft>
                    <a:buClrTx/>
                    <a:buSzTx/>
                    <a:buFontTx/>
                    <a:buNone/>
                    <a:tabLst/>
                    <a:defRPr/>
                  </a:pPr>
                  <a:r>
                    <a:rPr kumimoji="0" lang="en-US" sz="921" b="0" i="0" u="none" strike="noStrike" kern="1200" cap="none" spc="92" normalizeH="0" baseline="0" noProof="0">
                      <a:ln>
                        <a:noFill/>
                      </a:ln>
                      <a:solidFill>
                        <a:srgbClr val="000000"/>
                      </a:solidFill>
                      <a:effectLst/>
                      <a:uLnTx/>
                      <a:uFillTx/>
                      <a:latin typeface="EON Brix Sans 2 Bold"/>
                      <a:ea typeface="+mn-ea"/>
                      <a:cs typeface="+mn-cs"/>
                    </a:rPr>
                    <a:t>YEAR</a:t>
                  </a:r>
                </a:p>
              </p:txBody>
            </p:sp>
          </p:grpSp>
          <p:pic>
            <p:nvPicPr>
              <p:cNvPr id="252" name="Picture 11">
                <a:extLst>
                  <a:ext uri="{FF2B5EF4-FFF2-40B4-BE49-F238E27FC236}">
                    <a16:creationId xmlns:a16="http://schemas.microsoft.com/office/drawing/2014/main" id="{787F99E2-0E6A-4BE6-A726-85FAFDE8E688}"/>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p:blipFill>
            <p:spPr>
              <a:xfrm>
                <a:off x="6359198" y="3880595"/>
                <a:ext cx="427830" cy="428378"/>
              </a:xfrm>
              <a:prstGeom prst="rect">
                <a:avLst/>
              </a:prstGeom>
            </p:spPr>
          </p:pic>
          <p:grpSp>
            <p:nvGrpSpPr>
              <p:cNvPr id="11" name="Gruppieren 10">
                <a:extLst>
                  <a:ext uri="{FF2B5EF4-FFF2-40B4-BE49-F238E27FC236}">
                    <a16:creationId xmlns:a16="http://schemas.microsoft.com/office/drawing/2014/main" id="{A8054F3A-BFDF-48E8-A2B8-4BA275524714}"/>
                  </a:ext>
                </a:extLst>
              </p:cNvPr>
              <p:cNvGrpSpPr/>
              <p:nvPr/>
            </p:nvGrpSpPr>
            <p:grpSpPr>
              <a:xfrm>
                <a:off x="5838038" y="3937371"/>
                <a:ext cx="1341804" cy="856687"/>
                <a:chOff x="5838038" y="3937371"/>
                <a:chExt cx="1341804" cy="856687"/>
              </a:xfrm>
            </p:grpSpPr>
            <p:pic>
              <p:nvPicPr>
                <p:cNvPr id="247" name="Picture 2">
                  <a:extLst>
                    <a:ext uri="{FF2B5EF4-FFF2-40B4-BE49-F238E27FC236}">
                      <a16:creationId xmlns:a16="http://schemas.microsoft.com/office/drawing/2014/main" id="{C85A1F9A-7BD7-4FBC-9DB0-79890CE49F5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a:stretch>
              </p:blipFill>
              <p:spPr>
                <a:xfrm rot="533906">
                  <a:off x="5838038" y="4253968"/>
                  <a:ext cx="898303" cy="540090"/>
                </a:xfrm>
                <a:prstGeom prst="rect">
                  <a:avLst/>
                </a:prstGeom>
              </p:spPr>
            </p:pic>
            <p:pic>
              <p:nvPicPr>
                <p:cNvPr id="254" name="Picture 3">
                  <a:extLst>
                    <a:ext uri="{FF2B5EF4-FFF2-40B4-BE49-F238E27FC236}">
                      <a16:creationId xmlns:a16="http://schemas.microsoft.com/office/drawing/2014/main" id="{5CD076B8-83F6-464B-A447-482F7CD353C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a:stretch>
              </p:blipFill>
              <p:spPr>
                <a:xfrm rot="7351732" flipH="1">
                  <a:off x="6630026" y="3960406"/>
                  <a:ext cx="572851" cy="526781"/>
                </a:xfrm>
                <a:prstGeom prst="rect">
                  <a:avLst/>
                </a:prstGeom>
              </p:spPr>
            </p:pic>
            <p:sp>
              <p:nvSpPr>
                <p:cNvPr id="10" name="Rechteck 9">
                  <a:extLst>
                    <a:ext uri="{FF2B5EF4-FFF2-40B4-BE49-F238E27FC236}">
                      <a16:creationId xmlns:a16="http://schemas.microsoft.com/office/drawing/2014/main" id="{8E2A11B7-CA63-4671-A0A9-DF6F4125BA54}"/>
                    </a:ext>
                  </a:extLst>
                </p:cNvPr>
                <p:cNvSpPr/>
                <p:nvPr/>
              </p:nvSpPr>
              <p:spPr>
                <a:xfrm flipH="1">
                  <a:off x="6681237" y="4388503"/>
                  <a:ext cx="76262" cy="2676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5" name="TextBox 9">
              <a:extLst>
                <a:ext uri="{FF2B5EF4-FFF2-40B4-BE49-F238E27FC236}">
                  <a16:creationId xmlns:a16="http://schemas.microsoft.com/office/drawing/2014/main" id="{E538549D-BD58-44C8-95E9-96DECFFEAE44}"/>
                </a:ext>
              </a:extLst>
            </p:cNvPr>
            <p:cNvSpPr txBox="1"/>
            <p:nvPr/>
          </p:nvSpPr>
          <p:spPr>
            <a:xfrm>
              <a:off x="6291729" y="4769193"/>
              <a:ext cx="942136" cy="146579"/>
            </a:xfrm>
            <a:prstGeom prst="rect">
              <a:avLst/>
            </a:prstGeom>
          </p:spPr>
          <p:txBody>
            <a:bodyPr lIns="0" tIns="0" rIns="0" bIns="0" rtlCol="0" anchor="t">
              <a:spAutoFit/>
            </a:bodyPr>
            <a:lstStyle/>
            <a:p>
              <a:pPr marL="0" marR="0" lvl="0" indent="0" algn="ctr" defTabSz="914400" rtl="0" eaLnBrk="1" fontAlgn="auto" latinLnBrk="0" hangingPunct="1">
                <a:lnSpc>
                  <a:spcPts val="1151"/>
                </a:lnSpc>
                <a:spcBef>
                  <a:spcPts val="0"/>
                </a:spcBef>
                <a:spcAft>
                  <a:spcPts val="0"/>
                </a:spcAft>
                <a:buClrTx/>
                <a:buSzTx/>
                <a:buFontTx/>
                <a:buNone/>
                <a:tabLst/>
                <a:defRPr/>
              </a:pPr>
              <a:r>
                <a:rPr kumimoji="0" lang="en-US" sz="921" b="0" i="0" u="none" strike="noStrike" kern="1200" cap="none" spc="92" normalizeH="0" baseline="0" noProof="0" err="1">
                  <a:ln>
                    <a:noFill/>
                  </a:ln>
                  <a:solidFill>
                    <a:srgbClr val="000000"/>
                  </a:solidFill>
                  <a:effectLst/>
                  <a:uLnTx/>
                  <a:uFillTx/>
                  <a:latin typeface="EON Brix Sans 2 Bold"/>
                  <a:ea typeface="+mn-ea"/>
                  <a:cs typeface="+mn-cs"/>
                </a:rPr>
                <a:t>Data.ON</a:t>
              </a:r>
              <a:endParaRPr kumimoji="0" lang="en-US" sz="921" b="0" i="0" u="none" strike="noStrike" kern="1200" cap="none" spc="92" normalizeH="0" baseline="0" noProof="0">
                <a:ln>
                  <a:noFill/>
                </a:ln>
                <a:solidFill>
                  <a:srgbClr val="000000"/>
                </a:solidFill>
                <a:effectLst/>
                <a:uLnTx/>
                <a:uFillTx/>
                <a:latin typeface="EON Brix Sans 2 Bold"/>
                <a:ea typeface="+mn-ea"/>
                <a:cs typeface="+mn-cs"/>
              </a:endParaRPr>
            </a:p>
          </p:txBody>
        </p:sp>
        <p:sp>
          <p:nvSpPr>
            <p:cNvPr id="256" name="TextBox 9">
              <a:extLst>
                <a:ext uri="{FF2B5EF4-FFF2-40B4-BE49-F238E27FC236}">
                  <a16:creationId xmlns:a16="http://schemas.microsoft.com/office/drawing/2014/main" id="{9FD64668-CA1D-4F16-86FC-B42594C803F2}"/>
                </a:ext>
              </a:extLst>
            </p:cNvPr>
            <p:cNvSpPr txBox="1"/>
            <p:nvPr/>
          </p:nvSpPr>
          <p:spPr>
            <a:xfrm>
              <a:off x="7429928" y="4529045"/>
              <a:ext cx="942136" cy="300467"/>
            </a:xfrm>
            <a:prstGeom prst="rect">
              <a:avLst/>
            </a:prstGeom>
          </p:spPr>
          <p:txBody>
            <a:bodyPr lIns="0" tIns="0" rIns="0" bIns="0" rtlCol="0" anchor="t">
              <a:spAutoFit/>
            </a:bodyPr>
            <a:lstStyle/>
            <a:p>
              <a:pPr marL="0" marR="0" lvl="0" indent="0" algn="ctr" defTabSz="914400" rtl="0" eaLnBrk="1" fontAlgn="auto" latinLnBrk="0" hangingPunct="1">
                <a:lnSpc>
                  <a:spcPts val="1151"/>
                </a:lnSpc>
                <a:spcBef>
                  <a:spcPts val="0"/>
                </a:spcBef>
                <a:spcAft>
                  <a:spcPts val="0"/>
                </a:spcAft>
                <a:buClrTx/>
                <a:buSzTx/>
                <a:buFontTx/>
                <a:buNone/>
                <a:tabLst/>
                <a:defRPr/>
              </a:pPr>
              <a:r>
                <a:rPr kumimoji="0" lang="en-US" sz="921" b="0" i="0" u="none" strike="noStrike" kern="1200" cap="none" spc="92" normalizeH="0" baseline="0" noProof="0">
                  <a:ln>
                    <a:noFill/>
                  </a:ln>
                  <a:solidFill>
                    <a:srgbClr val="000000"/>
                  </a:solidFill>
                  <a:effectLst/>
                  <a:uLnTx/>
                  <a:uFillTx/>
                  <a:latin typeface="EON Brix Sans 2 Bold"/>
                  <a:ea typeface="+mn-ea"/>
                  <a:cs typeface="+mn-cs"/>
                </a:rPr>
                <a:t>Strategy &amp; Architecture</a:t>
              </a:r>
            </a:p>
          </p:txBody>
        </p:sp>
      </p:grpSp>
    </p:spTree>
    <p:extLst>
      <p:ext uri="{BB962C8B-B14F-4D97-AF65-F5344CB8AC3E}">
        <p14:creationId xmlns:p14="http://schemas.microsoft.com/office/powerpoint/2010/main" val="2278438045"/>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9" name="Picture 68" descr="Shape, rectangle&#10;&#10;Description automatically generated">
            <a:extLst>
              <a:ext uri="{FF2B5EF4-FFF2-40B4-BE49-F238E27FC236}">
                <a16:creationId xmlns:a16="http://schemas.microsoft.com/office/drawing/2014/main" id="{28C0A872-D9E7-43E3-97EC-F1605D4B56A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8" y="95"/>
            <a:ext cx="9143664" cy="5143311"/>
          </a:xfrm>
          <a:prstGeom prst="rect">
            <a:avLst/>
          </a:prstGeom>
        </p:spPr>
      </p:pic>
      <p:grpSp>
        <p:nvGrpSpPr>
          <p:cNvPr id="2" name="Group 1">
            <a:extLst>
              <a:ext uri="{FF2B5EF4-FFF2-40B4-BE49-F238E27FC236}">
                <a16:creationId xmlns:a16="http://schemas.microsoft.com/office/drawing/2014/main" id="{52938F59-4F39-4308-8FE6-F60F0BD23D42}"/>
              </a:ext>
            </a:extLst>
          </p:cNvPr>
          <p:cNvGrpSpPr/>
          <p:nvPr/>
        </p:nvGrpSpPr>
        <p:grpSpPr>
          <a:xfrm>
            <a:off x="217203" y="1177711"/>
            <a:ext cx="1278277" cy="3528427"/>
            <a:chOff x="223895" y="1154612"/>
            <a:chExt cx="1278277" cy="3528427"/>
          </a:xfrm>
        </p:grpSpPr>
        <p:grpSp>
          <p:nvGrpSpPr>
            <p:cNvPr id="6" name="Group 6"/>
            <p:cNvGrpSpPr/>
            <p:nvPr/>
          </p:nvGrpSpPr>
          <p:grpSpPr>
            <a:xfrm>
              <a:off x="416228" y="1154612"/>
              <a:ext cx="942136" cy="1200803"/>
              <a:chOff x="0" y="566240"/>
              <a:chExt cx="2512361" cy="3202141"/>
            </a:xfrm>
          </p:grpSpPr>
          <p:pic>
            <p:nvPicPr>
              <p:cNvPr id="7" name="Picture 7"/>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62693" y="1815312"/>
                <a:ext cx="1955567" cy="1953069"/>
              </a:xfrm>
              <a:prstGeom prst="rect">
                <a:avLst/>
              </a:prstGeom>
            </p:spPr>
          </p:pic>
          <p:sp>
            <p:nvSpPr>
              <p:cNvPr id="8" name="TextBox 8"/>
              <p:cNvSpPr txBox="1"/>
              <p:nvPr/>
            </p:nvSpPr>
            <p:spPr>
              <a:xfrm>
                <a:off x="0" y="1114776"/>
                <a:ext cx="2512361" cy="700536"/>
              </a:xfrm>
              <a:prstGeom prst="rect">
                <a:avLst/>
              </a:prstGeom>
            </p:spPr>
            <p:txBody>
              <a:bodyPr lIns="0" tIns="0" rIns="0" bIns="0" rtlCol="0" anchor="t">
                <a:spAutoFit/>
              </a:bodyPr>
              <a:lstStyle/>
              <a:p>
                <a:pPr algn="ctr">
                  <a:lnSpc>
                    <a:spcPts val="2188"/>
                  </a:lnSpc>
                </a:pPr>
                <a:r>
                  <a:rPr lang="en-US" sz="1750" spc="175">
                    <a:solidFill>
                      <a:srgbClr val="000000"/>
                    </a:solidFill>
                    <a:latin typeface="EON Brix Sans 1"/>
                  </a:rPr>
                  <a:t>2018</a:t>
                </a:r>
              </a:p>
            </p:txBody>
          </p:sp>
          <p:sp>
            <p:nvSpPr>
              <p:cNvPr id="9" name="TextBox 9"/>
              <p:cNvSpPr txBox="1"/>
              <p:nvPr/>
            </p:nvSpPr>
            <p:spPr>
              <a:xfrm>
                <a:off x="0" y="566240"/>
                <a:ext cx="2512361" cy="379592"/>
              </a:xfrm>
              <a:prstGeom prst="rect">
                <a:avLst/>
              </a:prstGeom>
            </p:spPr>
            <p:txBody>
              <a:bodyPr lIns="0" tIns="0" rIns="0" bIns="0" rtlCol="0" anchor="t">
                <a:spAutoFit/>
              </a:bodyPr>
              <a:lstStyle/>
              <a:p>
                <a:pPr algn="ctr">
                  <a:lnSpc>
                    <a:spcPts val="1151"/>
                  </a:lnSpc>
                </a:pPr>
                <a:r>
                  <a:rPr lang="en-US" sz="921" spc="92">
                    <a:solidFill>
                      <a:srgbClr val="000000"/>
                    </a:solidFill>
                    <a:latin typeface="EON Brix Sans 2 Bold"/>
                  </a:rPr>
                  <a:t>YEAR</a:t>
                </a:r>
              </a:p>
            </p:txBody>
          </p:sp>
        </p:grpSp>
        <p:grpSp>
          <p:nvGrpSpPr>
            <p:cNvPr id="26" name="Group 26"/>
            <p:cNvGrpSpPr/>
            <p:nvPr/>
          </p:nvGrpSpPr>
          <p:grpSpPr>
            <a:xfrm>
              <a:off x="223895" y="3407026"/>
              <a:ext cx="1278277" cy="1276013"/>
              <a:chOff x="-129400" y="0"/>
              <a:chExt cx="3408739" cy="3402700"/>
            </a:xfrm>
          </p:grpSpPr>
          <p:grpSp>
            <p:nvGrpSpPr>
              <p:cNvPr id="27" name="Group 27"/>
              <p:cNvGrpSpPr/>
              <p:nvPr/>
            </p:nvGrpSpPr>
            <p:grpSpPr>
              <a:xfrm>
                <a:off x="0" y="0"/>
                <a:ext cx="3279339" cy="3402700"/>
                <a:chOff x="0" y="0"/>
                <a:chExt cx="3429024" cy="3558016"/>
              </a:xfrm>
            </p:grpSpPr>
            <p:sp>
              <p:nvSpPr>
                <p:cNvPr id="28" name="Freeform 28"/>
                <p:cNvSpPr/>
                <p:nvPr/>
              </p:nvSpPr>
              <p:spPr>
                <a:xfrm>
                  <a:off x="0" y="218440"/>
                  <a:ext cx="3427754" cy="3339576"/>
                </a:xfrm>
                <a:custGeom>
                  <a:avLst/>
                  <a:gdLst/>
                  <a:ahLst/>
                  <a:cxnLst/>
                  <a:rect l="l" t="t" r="r" b="b"/>
                  <a:pathLst>
                    <a:path w="3427754" h="3339576">
                      <a:moveTo>
                        <a:pt x="0" y="16510"/>
                      </a:moveTo>
                      <a:cubicBezTo>
                        <a:pt x="0" y="16510"/>
                        <a:pt x="2540" y="345440"/>
                        <a:pt x="2540" y="826842"/>
                      </a:cubicBezTo>
                      <a:cubicBezTo>
                        <a:pt x="2540" y="1502039"/>
                        <a:pt x="7620" y="2158476"/>
                        <a:pt x="7620" y="2418826"/>
                      </a:cubicBezTo>
                      <a:cubicBezTo>
                        <a:pt x="7620" y="2613136"/>
                        <a:pt x="16510" y="3011916"/>
                        <a:pt x="21590" y="3203686"/>
                      </a:cubicBezTo>
                      <a:lnTo>
                        <a:pt x="130810" y="3317986"/>
                      </a:lnTo>
                      <a:cubicBezTo>
                        <a:pt x="275590" y="3325606"/>
                        <a:pt x="543560" y="3339576"/>
                        <a:pt x="793750" y="3339576"/>
                      </a:cubicBezTo>
                      <a:lnTo>
                        <a:pt x="3427754" y="3339576"/>
                      </a:lnTo>
                      <a:lnTo>
                        <a:pt x="3427754" y="734579"/>
                      </a:lnTo>
                      <a:cubicBezTo>
                        <a:pt x="3427754" y="323850"/>
                        <a:pt x="3418864" y="46990"/>
                        <a:pt x="3418864" y="46990"/>
                      </a:cubicBezTo>
                      <a:cubicBezTo>
                        <a:pt x="3263924" y="26670"/>
                        <a:pt x="3107714" y="16510"/>
                        <a:pt x="2950234" y="17780"/>
                      </a:cubicBezTo>
                      <a:cubicBezTo>
                        <a:pt x="2677184" y="17780"/>
                        <a:pt x="944880" y="22860"/>
                        <a:pt x="694690" y="13970"/>
                      </a:cubicBezTo>
                      <a:cubicBezTo>
                        <a:pt x="360680" y="0"/>
                        <a:pt x="0" y="16510"/>
                        <a:pt x="0" y="16510"/>
                      </a:cubicBezTo>
                      <a:close/>
                    </a:path>
                  </a:pathLst>
                </a:custGeom>
                <a:solidFill>
                  <a:srgbClr val="EA1C0A"/>
                </a:solidFill>
              </p:spPr>
            </p:sp>
            <p:sp>
              <p:nvSpPr>
                <p:cNvPr id="29" name="Freeform 29"/>
                <p:cNvSpPr/>
                <p:nvPr/>
              </p:nvSpPr>
              <p:spPr>
                <a:xfrm>
                  <a:off x="21590" y="0"/>
                  <a:ext cx="2938804" cy="3537696"/>
                </a:xfrm>
                <a:custGeom>
                  <a:avLst/>
                  <a:gdLst/>
                  <a:ahLst/>
                  <a:cxnLst/>
                  <a:rect l="l" t="t" r="r" b="b"/>
                  <a:pathLst>
                    <a:path w="2938804" h="3537696">
                      <a:moveTo>
                        <a:pt x="0" y="3423396"/>
                      </a:moveTo>
                      <a:lnTo>
                        <a:pt x="109220" y="3537696"/>
                      </a:lnTo>
                      <a:lnTo>
                        <a:pt x="123190" y="3404346"/>
                      </a:lnTo>
                      <a:lnTo>
                        <a:pt x="0" y="3423396"/>
                      </a:lnTo>
                      <a:close/>
                      <a:moveTo>
                        <a:pt x="1739924" y="106680"/>
                      </a:moveTo>
                      <a:cubicBezTo>
                        <a:pt x="1739924" y="106680"/>
                        <a:pt x="2157754" y="64770"/>
                        <a:pt x="2294914" y="55880"/>
                      </a:cubicBezTo>
                      <a:cubicBezTo>
                        <a:pt x="2432074" y="46990"/>
                        <a:pt x="2912134" y="0"/>
                        <a:pt x="2912134" y="0"/>
                      </a:cubicBezTo>
                      <a:cubicBezTo>
                        <a:pt x="2905784" y="41910"/>
                        <a:pt x="2904514" y="86360"/>
                        <a:pt x="2909594" y="128270"/>
                      </a:cubicBezTo>
                      <a:cubicBezTo>
                        <a:pt x="2915944" y="167640"/>
                        <a:pt x="2918484" y="208280"/>
                        <a:pt x="2917214" y="248920"/>
                      </a:cubicBezTo>
                      <a:lnTo>
                        <a:pt x="2938804" y="318770"/>
                      </a:lnTo>
                      <a:lnTo>
                        <a:pt x="2928644" y="419100"/>
                      </a:lnTo>
                      <a:cubicBezTo>
                        <a:pt x="2928644" y="419100"/>
                        <a:pt x="2178074" y="454660"/>
                        <a:pt x="2040914" y="471170"/>
                      </a:cubicBezTo>
                      <a:cubicBezTo>
                        <a:pt x="1903754" y="487680"/>
                        <a:pt x="1699284" y="486410"/>
                        <a:pt x="1699284" y="486410"/>
                      </a:cubicBezTo>
                      <a:cubicBezTo>
                        <a:pt x="1699284" y="486410"/>
                        <a:pt x="1691664" y="365760"/>
                        <a:pt x="1704364" y="322580"/>
                      </a:cubicBezTo>
                      <a:cubicBezTo>
                        <a:pt x="1714524" y="288290"/>
                        <a:pt x="1718334" y="251460"/>
                        <a:pt x="1713254" y="214630"/>
                      </a:cubicBezTo>
                      <a:cubicBezTo>
                        <a:pt x="1713254" y="186690"/>
                        <a:pt x="1739924" y="106680"/>
                        <a:pt x="1739924" y="106680"/>
                      </a:cubicBezTo>
                      <a:close/>
                    </a:path>
                  </a:pathLst>
                </a:custGeom>
                <a:solidFill>
                  <a:srgbClr val="B00402"/>
                </a:solidFill>
              </p:spPr>
            </p:sp>
          </p:grpSp>
          <p:sp>
            <p:nvSpPr>
              <p:cNvPr id="30" name="TextBox 30"/>
              <p:cNvSpPr txBox="1"/>
              <p:nvPr/>
            </p:nvSpPr>
            <p:spPr>
              <a:xfrm>
                <a:off x="-129400" y="850888"/>
                <a:ext cx="3404448" cy="1641474"/>
              </a:xfrm>
              <a:prstGeom prst="rect">
                <a:avLst/>
              </a:prstGeom>
            </p:spPr>
            <p:txBody>
              <a:bodyPr wrap="square" lIns="0" tIns="0" rIns="0" bIns="0" rtlCol="0" anchor="t">
                <a:spAutoFit/>
              </a:bodyPr>
              <a:lstStyle/>
              <a:p>
                <a:pPr marL="109088" lvl="1" algn="ctr"/>
                <a:r>
                  <a:rPr lang="en-US" sz="2000">
                    <a:solidFill>
                      <a:srgbClr val="FFFFFF"/>
                    </a:solidFill>
                    <a:latin typeface="EON Brix Sans 2"/>
                  </a:rPr>
                  <a:t>Make a  Plan</a:t>
                </a:r>
              </a:p>
            </p:txBody>
          </p:sp>
        </p:grpSp>
      </p:grpSp>
      <p:grpSp>
        <p:nvGrpSpPr>
          <p:cNvPr id="3" name="Group 2">
            <a:extLst>
              <a:ext uri="{FF2B5EF4-FFF2-40B4-BE49-F238E27FC236}">
                <a16:creationId xmlns:a16="http://schemas.microsoft.com/office/drawing/2014/main" id="{FCE06CD3-219C-47CA-876D-532F0357E25F}"/>
              </a:ext>
            </a:extLst>
          </p:cNvPr>
          <p:cNvGrpSpPr/>
          <p:nvPr/>
        </p:nvGrpSpPr>
        <p:grpSpPr>
          <a:xfrm>
            <a:off x="1944686" y="1157300"/>
            <a:ext cx="1429224" cy="3530277"/>
            <a:chOff x="1956051" y="1154612"/>
            <a:chExt cx="1429224" cy="3530277"/>
          </a:xfrm>
        </p:grpSpPr>
        <p:grpSp>
          <p:nvGrpSpPr>
            <p:cNvPr id="10" name="Group 10"/>
            <p:cNvGrpSpPr/>
            <p:nvPr/>
          </p:nvGrpSpPr>
          <p:grpSpPr>
            <a:xfrm>
              <a:off x="2258003" y="1154612"/>
              <a:ext cx="942136" cy="1196455"/>
              <a:chOff x="0" y="566241"/>
              <a:chExt cx="2512361" cy="3190545"/>
            </a:xfrm>
          </p:grpSpPr>
          <p:pic>
            <p:nvPicPr>
              <p:cNvPr id="11" name="Picture 11"/>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277789" y="1798715"/>
                <a:ext cx="1955567" cy="1958071"/>
              </a:xfrm>
              <a:prstGeom prst="rect">
                <a:avLst/>
              </a:prstGeom>
            </p:spPr>
          </p:pic>
          <p:sp>
            <p:nvSpPr>
              <p:cNvPr id="12" name="TextBox 12"/>
              <p:cNvSpPr txBox="1"/>
              <p:nvPr/>
            </p:nvSpPr>
            <p:spPr>
              <a:xfrm>
                <a:off x="0" y="1114777"/>
                <a:ext cx="2512361" cy="700536"/>
              </a:xfrm>
              <a:prstGeom prst="rect">
                <a:avLst/>
              </a:prstGeom>
            </p:spPr>
            <p:txBody>
              <a:bodyPr lIns="0" tIns="0" rIns="0" bIns="0" rtlCol="0" anchor="t">
                <a:spAutoFit/>
              </a:bodyPr>
              <a:lstStyle/>
              <a:p>
                <a:pPr algn="ctr">
                  <a:lnSpc>
                    <a:spcPts val="2188"/>
                  </a:lnSpc>
                </a:pPr>
                <a:r>
                  <a:rPr lang="en-US" sz="1750" spc="175">
                    <a:solidFill>
                      <a:srgbClr val="000000"/>
                    </a:solidFill>
                    <a:latin typeface="EON Brix Sans 1"/>
                  </a:rPr>
                  <a:t>2019</a:t>
                </a:r>
              </a:p>
            </p:txBody>
          </p:sp>
          <p:sp>
            <p:nvSpPr>
              <p:cNvPr id="13" name="TextBox 13"/>
              <p:cNvSpPr txBox="1"/>
              <p:nvPr/>
            </p:nvSpPr>
            <p:spPr>
              <a:xfrm>
                <a:off x="0" y="566241"/>
                <a:ext cx="2512361" cy="379592"/>
              </a:xfrm>
              <a:prstGeom prst="rect">
                <a:avLst/>
              </a:prstGeom>
            </p:spPr>
            <p:txBody>
              <a:bodyPr lIns="0" tIns="0" rIns="0" bIns="0" rtlCol="0" anchor="t">
                <a:spAutoFit/>
              </a:bodyPr>
              <a:lstStyle/>
              <a:p>
                <a:pPr algn="ctr">
                  <a:lnSpc>
                    <a:spcPts val="1151"/>
                  </a:lnSpc>
                </a:pPr>
                <a:r>
                  <a:rPr lang="en-US" sz="921" spc="92">
                    <a:solidFill>
                      <a:srgbClr val="000000"/>
                    </a:solidFill>
                    <a:latin typeface="EON Brix Sans 2 Bold"/>
                  </a:rPr>
                  <a:t>YEAR</a:t>
                </a:r>
              </a:p>
            </p:txBody>
          </p:sp>
        </p:grpSp>
        <p:grpSp>
          <p:nvGrpSpPr>
            <p:cNvPr id="31" name="Group 31"/>
            <p:cNvGrpSpPr/>
            <p:nvPr/>
          </p:nvGrpSpPr>
          <p:grpSpPr>
            <a:xfrm>
              <a:off x="1956051" y="3405175"/>
              <a:ext cx="1429224" cy="1279714"/>
              <a:chOff x="-421718" y="0"/>
              <a:chExt cx="3811264" cy="3412571"/>
            </a:xfrm>
          </p:grpSpPr>
          <p:grpSp>
            <p:nvGrpSpPr>
              <p:cNvPr id="32" name="Group 32"/>
              <p:cNvGrpSpPr/>
              <p:nvPr/>
            </p:nvGrpSpPr>
            <p:grpSpPr>
              <a:xfrm>
                <a:off x="0" y="0"/>
                <a:ext cx="3279339" cy="3412571"/>
                <a:chOff x="0" y="0"/>
                <a:chExt cx="3429024" cy="3568338"/>
              </a:xfrm>
            </p:grpSpPr>
            <p:sp>
              <p:nvSpPr>
                <p:cNvPr id="33" name="Freeform 33"/>
                <p:cNvSpPr/>
                <p:nvPr/>
              </p:nvSpPr>
              <p:spPr>
                <a:xfrm>
                  <a:off x="0" y="218440"/>
                  <a:ext cx="3427754" cy="3349898"/>
                </a:xfrm>
                <a:custGeom>
                  <a:avLst/>
                  <a:gdLst/>
                  <a:ahLst/>
                  <a:cxnLst/>
                  <a:rect l="l" t="t" r="r" b="b"/>
                  <a:pathLst>
                    <a:path w="3427754" h="3349898">
                      <a:moveTo>
                        <a:pt x="0" y="16510"/>
                      </a:moveTo>
                      <a:cubicBezTo>
                        <a:pt x="0" y="16510"/>
                        <a:pt x="2540" y="345440"/>
                        <a:pt x="2540" y="828690"/>
                      </a:cubicBezTo>
                      <a:cubicBezTo>
                        <a:pt x="2540" y="1510680"/>
                        <a:pt x="7620" y="2168798"/>
                        <a:pt x="7620" y="2429148"/>
                      </a:cubicBezTo>
                      <a:cubicBezTo>
                        <a:pt x="7620" y="2623458"/>
                        <a:pt x="16510" y="3022238"/>
                        <a:pt x="21590" y="3214008"/>
                      </a:cubicBezTo>
                      <a:lnTo>
                        <a:pt x="130810" y="3328308"/>
                      </a:lnTo>
                      <a:cubicBezTo>
                        <a:pt x="275590" y="3335928"/>
                        <a:pt x="543560" y="3349898"/>
                        <a:pt x="793750" y="3349898"/>
                      </a:cubicBezTo>
                      <a:lnTo>
                        <a:pt x="3427754" y="3349898"/>
                      </a:lnTo>
                      <a:lnTo>
                        <a:pt x="3427754" y="735499"/>
                      </a:lnTo>
                      <a:cubicBezTo>
                        <a:pt x="3427754" y="323850"/>
                        <a:pt x="3418864" y="46990"/>
                        <a:pt x="3418864" y="46990"/>
                      </a:cubicBezTo>
                      <a:cubicBezTo>
                        <a:pt x="3263924" y="26670"/>
                        <a:pt x="3107714" y="16510"/>
                        <a:pt x="2950234" y="17780"/>
                      </a:cubicBezTo>
                      <a:cubicBezTo>
                        <a:pt x="2677184" y="17780"/>
                        <a:pt x="944880" y="22860"/>
                        <a:pt x="694690" y="13970"/>
                      </a:cubicBezTo>
                      <a:cubicBezTo>
                        <a:pt x="360680" y="0"/>
                        <a:pt x="0" y="16510"/>
                        <a:pt x="0" y="16510"/>
                      </a:cubicBezTo>
                      <a:close/>
                    </a:path>
                  </a:pathLst>
                </a:custGeom>
                <a:solidFill>
                  <a:srgbClr val="5CC1CB"/>
                </a:solidFill>
              </p:spPr>
            </p:sp>
            <p:sp>
              <p:nvSpPr>
                <p:cNvPr id="34" name="Freeform 34"/>
                <p:cNvSpPr/>
                <p:nvPr/>
              </p:nvSpPr>
              <p:spPr>
                <a:xfrm>
                  <a:off x="21590" y="0"/>
                  <a:ext cx="2938804" cy="3548018"/>
                </a:xfrm>
                <a:custGeom>
                  <a:avLst/>
                  <a:gdLst/>
                  <a:ahLst/>
                  <a:cxnLst/>
                  <a:rect l="l" t="t" r="r" b="b"/>
                  <a:pathLst>
                    <a:path w="2938804" h="3548018">
                      <a:moveTo>
                        <a:pt x="0" y="3433718"/>
                      </a:moveTo>
                      <a:lnTo>
                        <a:pt x="109220" y="3548018"/>
                      </a:lnTo>
                      <a:lnTo>
                        <a:pt x="123190" y="3414668"/>
                      </a:lnTo>
                      <a:lnTo>
                        <a:pt x="0" y="3433718"/>
                      </a:lnTo>
                      <a:close/>
                      <a:moveTo>
                        <a:pt x="1739924" y="106680"/>
                      </a:moveTo>
                      <a:cubicBezTo>
                        <a:pt x="1739924" y="106680"/>
                        <a:pt x="2157754" y="64770"/>
                        <a:pt x="2294914" y="55880"/>
                      </a:cubicBezTo>
                      <a:cubicBezTo>
                        <a:pt x="2432074" y="46990"/>
                        <a:pt x="2912134" y="0"/>
                        <a:pt x="2912134" y="0"/>
                      </a:cubicBezTo>
                      <a:cubicBezTo>
                        <a:pt x="2905784" y="41910"/>
                        <a:pt x="2904514" y="86360"/>
                        <a:pt x="2909594" y="128270"/>
                      </a:cubicBezTo>
                      <a:cubicBezTo>
                        <a:pt x="2915944" y="167640"/>
                        <a:pt x="2918484" y="208280"/>
                        <a:pt x="2917214" y="248920"/>
                      </a:cubicBezTo>
                      <a:lnTo>
                        <a:pt x="2938804" y="318770"/>
                      </a:lnTo>
                      <a:lnTo>
                        <a:pt x="2928644" y="419100"/>
                      </a:lnTo>
                      <a:cubicBezTo>
                        <a:pt x="2928644" y="419100"/>
                        <a:pt x="2178074" y="454660"/>
                        <a:pt x="2040914" y="471170"/>
                      </a:cubicBezTo>
                      <a:cubicBezTo>
                        <a:pt x="1903754" y="487680"/>
                        <a:pt x="1699284" y="486410"/>
                        <a:pt x="1699284" y="486410"/>
                      </a:cubicBezTo>
                      <a:cubicBezTo>
                        <a:pt x="1699284" y="486410"/>
                        <a:pt x="1691664" y="365760"/>
                        <a:pt x="1704364" y="322580"/>
                      </a:cubicBezTo>
                      <a:cubicBezTo>
                        <a:pt x="1714524" y="288290"/>
                        <a:pt x="1718334" y="251460"/>
                        <a:pt x="1713254" y="214630"/>
                      </a:cubicBezTo>
                      <a:cubicBezTo>
                        <a:pt x="1713254" y="186690"/>
                        <a:pt x="1739924" y="106680"/>
                        <a:pt x="1739924" y="106680"/>
                      </a:cubicBezTo>
                      <a:close/>
                    </a:path>
                  </a:pathLst>
                </a:custGeom>
                <a:solidFill>
                  <a:srgbClr val="1EA2B1"/>
                </a:solidFill>
              </p:spPr>
            </p:sp>
          </p:grpSp>
          <p:sp>
            <p:nvSpPr>
              <p:cNvPr id="35" name="TextBox 35"/>
              <p:cNvSpPr txBox="1"/>
              <p:nvPr/>
            </p:nvSpPr>
            <p:spPr>
              <a:xfrm>
                <a:off x="-421718" y="869480"/>
                <a:ext cx="3811264" cy="1641475"/>
              </a:xfrm>
              <a:prstGeom prst="rect">
                <a:avLst/>
              </a:prstGeom>
            </p:spPr>
            <p:txBody>
              <a:bodyPr wrap="square" lIns="0" tIns="0" rIns="0" bIns="0" rtlCol="0" anchor="t">
                <a:spAutoFit/>
              </a:bodyPr>
              <a:lstStyle/>
              <a:p>
                <a:pPr marL="109088" lvl="1" algn="ctr"/>
                <a:r>
                  <a:rPr lang="en-US" sz="2000">
                    <a:solidFill>
                      <a:srgbClr val="FFFFFF"/>
                    </a:solidFill>
                    <a:latin typeface="EON Brix Sans 2"/>
                  </a:rPr>
                  <a:t>Create the foundation</a:t>
                </a:r>
              </a:p>
            </p:txBody>
          </p:sp>
        </p:grpSp>
      </p:grpSp>
      <p:grpSp>
        <p:nvGrpSpPr>
          <p:cNvPr id="4" name="Group 3">
            <a:extLst>
              <a:ext uri="{FF2B5EF4-FFF2-40B4-BE49-F238E27FC236}">
                <a16:creationId xmlns:a16="http://schemas.microsoft.com/office/drawing/2014/main" id="{2FB317D9-5296-479E-A5B3-7DBEAEC05628}"/>
              </a:ext>
            </a:extLst>
          </p:cNvPr>
          <p:cNvGrpSpPr/>
          <p:nvPr/>
        </p:nvGrpSpPr>
        <p:grpSpPr>
          <a:xfrm>
            <a:off x="3870919" y="1172837"/>
            <a:ext cx="1229752" cy="3535151"/>
            <a:chOff x="3957124" y="1149738"/>
            <a:chExt cx="1229752" cy="3535151"/>
          </a:xfrm>
        </p:grpSpPr>
        <p:grpSp>
          <p:nvGrpSpPr>
            <p:cNvPr id="14" name="Group 14"/>
            <p:cNvGrpSpPr/>
            <p:nvPr/>
          </p:nvGrpSpPr>
          <p:grpSpPr>
            <a:xfrm>
              <a:off x="4100933" y="1149738"/>
              <a:ext cx="942136" cy="1201329"/>
              <a:chOff x="0" y="553243"/>
              <a:chExt cx="2512361" cy="3203543"/>
            </a:xfrm>
          </p:grpSpPr>
          <p:pic>
            <p:nvPicPr>
              <p:cNvPr id="15" name="Picture 15"/>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274709" y="1815312"/>
                <a:ext cx="1943959" cy="1941474"/>
              </a:xfrm>
              <a:prstGeom prst="rect">
                <a:avLst/>
              </a:prstGeom>
            </p:spPr>
          </p:pic>
          <p:sp>
            <p:nvSpPr>
              <p:cNvPr id="16" name="TextBox 16"/>
              <p:cNvSpPr txBox="1"/>
              <p:nvPr/>
            </p:nvSpPr>
            <p:spPr>
              <a:xfrm>
                <a:off x="0" y="1101779"/>
                <a:ext cx="2512361" cy="700536"/>
              </a:xfrm>
              <a:prstGeom prst="rect">
                <a:avLst/>
              </a:prstGeom>
            </p:spPr>
            <p:txBody>
              <a:bodyPr lIns="0" tIns="0" rIns="0" bIns="0" rtlCol="0" anchor="t">
                <a:spAutoFit/>
              </a:bodyPr>
              <a:lstStyle/>
              <a:p>
                <a:pPr algn="ctr">
                  <a:lnSpc>
                    <a:spcPts val="2188"/>
                  </a:lnSpc>
                </a:pPr>
                <a:r>
                  <a:rPr lang="en-US" sz="1750" spc="175">
                    <a:solidFill>
                      <a:srgbClr val="000000"/>
                    </a:solidFill>
                    <a:latin typeface="EON Brix Sans 1"/>
                  </a:rPr>
                  <a:t>2020</a:t>
                </a:r>
              </a:p>
            </p:txBody>
          </p:sp>
          <p:sp>
            <p:nvSpPr>
              <p:cNvPr id="17" name="TextBox 17"/>
              <p:cNvSpPr txBox="1"/>
              <p:nvPr/>
            </p:nvSpPr>
            <p:spPr>
              <a:xfrm>
                <a:off x="0" y="553243"/>
                <a:ext cx="2512361" cy="379592"/>
              </a:xfrm>
              <a:prstGeom prst="rect">
                <a:avLst/>
              </a:prstGeom>
            </p:spPr>
            <p:txBody>
              <a:bodyPr lIns="0" tIns="0" rIns="0" bIns="0" rtlCol="0" anchor="t">
                <a:spAutoFit/>
              </a:bodyPr>
              <a:lstStyle/>
              <a:p>
                <a:pPr algn="ctr">
                  <a:lnSpc>
                    <a:spcPts val="1151"/>
                  </a:lnSpc>
                </a:pPr>
                <a:r>
                  <a:rPr lang="en-US" sz="921" spc="92">
                    <a:solidFill>
                      <a:srgbClr val="000000"/>
                    </a:solidFill>
                    <a:latin typeface="EON Brix Sans 2 Bold"/>
                  </a:rPr>
                  <a:t>YEAR</a:t>
                </a:r>
              </a:p>
            </p:txBody>
          </p:sp>
        </p:grpSp>
        <p:grpSp>
          <p:nvGrpSpPr>
            <p:cNvPr id="37" name="Group 37"/>
            <p:cNvGrpSpPr/>
            <p:nvPr/>
          </p:nvGrpSpPr>
          <p:grpSpPr>
            <a:xfrm>
              <a:off x="3957124" y="3405175"/>
              <a:ext cx="1229752" cy="1279714"/>
              <a:chOff x="0" y="0"/>
              <a:chExt cx="3429024" cy="3568338"/>
            </a:xfrm>
          </p:grpSpPr>
          <p:sp>
            <p:nvSpPr>
              <p:cNvPr id="38" name="Freeform 38"/>
              <p:cNvSpPr/>
              <p:nvPr/>
            </p:nvSpPr>
            <p:spPr>
              <a:xfrm>
                <a:off x="0" y="218440"/>
                <a:ext cx="3427754" cy="3349898"/>
              </a:xfrm>
              <a:custGeom>
                <a:avLst/>
                <a:gdLst/>
                <a:ahLst/>
                <a:cxnLst/>
                <a:rect l="l" t="t" r="r" b="b"/>
                <a:pathLst>
                  <a:path w="3427754" h="3349898">
                    <a:moveTo>
                      <a:pt x="0" y="16510"/>
                    </a:moveTo>
                    <a:cubicBezTo>
                      <a:pt x="0" y="16510"/>
                      <a:pt x="2540" y="345440"/>
                      <a:pt x="2540" y="828690"/>
                    </a:cubicBezTo>
                    <a:cubicBezTo>
                      <a:pt x="2540" y="1510680"/>
                      <a:pt x="7620" y="2168798"/>
                      <a:pt x="7620" y="2429148"/>
                    </a:cubicBezTo>
                    <a:cubicBezTo>
                      <a:pt x="7620" y="2623458"/>
                      <a:pt x="16510" y="3022238"/>
                      <a:pt x="21590" y="3214008"/>
                    </a:cubicBezTo>
                    <a:lnTo>
                      <a:pt x="130810" y="3328308"/>
                    </a:lnTo>
                    <a:cubicBezTo>
                      <a:pt x="275590" y="3335928"/>
                      <a:pt x="543560" y="3349898"/>
                      <a:pt x="793750" y="3349898"/>
                    </a:cubicBezTo>
                    <a:lnTo>
                      <a:pt x="3427754" y="3349898"/>
                    </a:lnTo>
                    <a:lnTo>
                      <a:pt x="3427754" y="735499"/>
                    </a:lnTo>
                    <a:cubicBezTo>
                      <a:pt x="3427754" y="323850"/>
                      <a:pt x="3418864" y="46990"/>
                      <a:pt x="3418864" y="46990"/>
                    </a:cubicBezTo>
                    <a:cubicBezTo>
                      <a:pt x="3263924" y="26670"/>
                      <a:pt x="3107714" y="16510"/>
                      <a:pt x="2950234" y="17780"/>
                    </a:cubicBezTo>
                    <a:cubicBezTo>
                      <a:pt x="2677184" y="17780"/>
                      <a:pt x="944880" y="22860"/>
                      <a:pt x="694690" y="13970"/>
                    </a:cubicBezTo>
                    <a:cubicBezTo>
                      <a:pt x="360680" y="0"/>
                      <a:pt x="0" y="16510"/>
                      <a:pt x="0" y="16510"/>
                    </a:cubicBezTo>
                    <a:close/>
                  </a:path>
                </a:pathLst>
              </a:custGeom>
              <a:solidFill>
                <a:srgbClr val="E3E000"/>
              </a:solidFill>
            </p:spPr>
          </p:sp>
          <p:sp>
            <p:nvSpPr>
              <p:cNvPr id="39" name="Freeform 39"/>
              <p:cNvSpPr/>
              <p:nvPr/>
            </p:nvSpPr>
            <p:spPr>
              <a:xfrm>
                <a:off x="21590" y="0"/>
                <a:ext cx="2938804" cy="3548018"/>
              </a:xfrm>
              <a:custGeom>
                <a:avLst/>
                <a:gdLst/>
                <a:ahLst/>
                <a:cxnLst/>
                <a:rect l="l" t="t" r="r" b="b"/>
                <a:pathLst>
                  <a:path w="2938804" h="3548018">
                    <a:moveTo>
                      <a:pt x="0" y="3433718"/>
                    </a:moveTo>
                    <a:lnTo>
                      <a:pt x="109220" y="3548018"/>
                    </a:lnTo>
                    <a:lnTo>
                      <a:pt x="123190" y="3414668"/>
                    </a:lnTo>
                    <a:lnTo>
                      <a:pt x="0" y="3433718"/>
                    </a:lnTo>
                    <a:close/>
                    <a:moveTo>
                      <a:pt x="1739924" y="106680"/>
                    </a:moveTo>
                    <a:cubicBezTo>
                      <a:pt x="1739924" y="106680"/>
                      <a:pt x="2157754" y="64770"/>
                      <a:pt x="2294914" y="55880"/>
                    </a:cubicBezTo>
                    <a:cubicBezTo>
                      <a:pt x="2432074" y="46990"/>
                      <a:pt x="2912134" y="0"/>
                      <a:pt x="2912134" y="0"/>
                    </a:cubicBezTo>
                    <a:cubicBezTo>
                      <a:pt x="2905784" y="41910"/>
                      <a:pt x="2904514" y="86360"/>
                      <a:pt x="2909594" y="128270"/>
                    </a:cubicBezTo>
                    <a:cubicBezTo>
                      <a:pt x="2915944" y="167640"/>
                      <a:pt x="2918484" y="208280"/>
                      <a:pt x="2917214" y="248920"/>
                    </a:cubicBezTo>
                    <a:lnTo>
                      <a:pt x="2938804" y="318770"/>
                    </a:lnTo>
                    <a:lnTo>
                      <a:pt x="2928644" y="419100"/>
                    </a:lnTo>
                    <a:cubicBezTo>
                      <a:pt x="2928644" y="419100"/>
                      <a:pt x="2178074" y="454660"/>
                      <a:pt x="2040914" y="471170"/>
                    </a:cubicBezTo>
                    <a:cubicBezTo>
                      <a:pt x="1903754" y="487680"/>
                      <a:pt x="1699284" y="486410"/>
                      <a:pt x="1699284" y="486410"/>
                    </a:cubicBezTo>
                    <a:cubicBezTo>
                      <a:pt x="1699284" y="486410"/>
                      <a:pt x="1691664" y="365760"/>
                      <a:pt x="1704364" y="322580"/>
                    </a:cubicBezTo>
                    <a:cubicBezTo>
                      <a:pt x="1714524" y="288290"/>
                      <a:pt x="1718334" y="251460"/>
                      <a:pt x="1713254" y="214630"/>
                    </a:cubicBezTo>
                    <a:cubicBezTo>
                      <a:pt x="1713254" y="186690"/>
                      <a:pt x="1739924" y="106680"/>
                      <a:pt x="1739924" y="106680"/>
                    </a:cubicBezTo>
                    <a:close/>
                  </a:path>
                </a:pathLst>
              </a:custGeom>
              <a:solidFill>
                <a:srgbClr val="EAE840"/>
              </a:solidFill>
            </p:spPr>
          </p:sp>
        </p:grpSp>
      </p:grpSp>
      <p:grpSp>
        <p:nvGrpSpPr>
          <p:cNvPr id="5" name="Group 4">
            <a:extLst>
              <a:ext uri="{FF2B5EF4-FFF2-40B4-BE49-F238E27FC236}">
                <a16:creationId xmlns:a16="http://schemas.microsoft.com/office/drawing/2014/main" id="{0BA97BAB-88A6-4919-883B-13DD8924F9CE}"/>
              </a:ext>
            </a:extLst>
          </p:cNvPr>
          <p:cNvGrpSpPr/>
          <p:nvPr/>
        </p:nvGrpSpPr>
        <p:grpSpPr>
          <a:xfrm>
            <a:off x="5602856" y="1177711"/>
            <a:ext cx="1229752" cy="3530277"/>
            <a:chOff x="5752669" y="1154612"/>
            <a:chExt cx="1229752" cy="3530277"/>
          </a:xfrm>
        </p:grpSpPr>
        <p:grpSp>
          <p:nvGrpSpPr>
            <p:cNvPr id="18" name="Group 18"/>
            <p:cNvGrpSpPr/>
            <p:nvPr/>
          </p:nvGrpSpPr>
          <p:grpSpPr>
            <a:xfrm>
              <a:off x="5913697" y="1154612"/>
              <a:ext cx="942136" cy="1194754"/>
              <a:chOff x="45917" y="553873"/>
              <a:chExt cx="2512361" cy="3186010"/>
            </a:xfrm>
          </p:grpSpPr>
          <p:pic>
            <p:nvPicPr>
              <p:cNvPr id="19" name="Picture 19"/>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332389" y="1802945"/>
                <a:ext cx="1939417" cy="1936938"/>
              </a:xfrm>
              <a:prstGeom prst="rect">
                <a:avLst/>
              </a:prstGeom>
            </p:spPr>
          </p:pic>
          <p:sp>
            <p:nvSpPr>
              <p:cNvPr id="20" name="TextBox 20"/>
              <p:cNvSpPr txBox="1"/>
              <p:nvPr/>
            </p:nvSpPr>
            <p:spPr>
              <a:xfrm>
                <a:off x="45917" y="1102409"/>
                <a:ext cx="2512361" cy="668048"/>
              </a:xfrm>
              <a:prstGeom prst="rect">
                <a:avLst/>
              </a:prstGeom>
            </p:spPr>
            <p:txBody>
              <a:bodyPr lIns="0" tIns="0" rIns="0" bIns="0" rtlCol="0" anchor="t">
                <a:spAutoFit/>
              </a:bodyPr>
              <a:lstStyle/>
              <a:p>
                <a:pPr algn="ctr">
                  <a:lnSpc>
                    <a:spcPts val="2079"/>
                  </a:lnSpc>
                </a:pPr>
                <a:r>
                  <a:rPr lang="en-US" sz="1663" spc="166">
                    <a:solidFill>
                      <a:srgbClr val="000000"/>
                    </a:solidFill>
                    <a:latin typeface="League Spartan"/>
                  </a:rPr>
                  <a:t>2021</a:t>
                </a:r>
              </a:p>
            </p:txBody>
          </p:sp>
          <p:sp>
            <p:nvSpPr>
              <p:cNvPr id="21" name="TextBox 21"/>
              <p:cNvSpPr txBox="1"/>
              <p:nvPr/>
            </p:nvSpPr>
            <p:spPr>
              <a:xfrm>
                <a:off x="45917" y="553873"/>
                <a:ext cx="2512361" cy="379592"/>
              </a:xfrm>
              <a:prstGeom prst="rect">
                <a:avLst/>
              </a:prstGeom>
            </p:spPr>
            <p:txBody>
              <a:bodyPr lIns="0" tIns="0" rIns="0" bIns="0" rtlCol="0" anchor="t">
                <a:spAutoFit/>
              </a:bodyPr>
              <a:lstStyle/>
              <a:p>
                <a:pPr algn="ctr">
                  <a:lnSpc>
                    <a:spcPts val="1151"/>
                  </a:lnSpc>
                </a:pPr>
                <a:r>
                  <a:rPr lang="en-US" sz="921" spc="92">
                    <a:solidFill>
                      <a:srgbClr val="000000"/>
                    </a:solidFill>
                    <a:latin typeface="EON Brix Sans 2 Bold"/>
                  </a:rPr>
                  <a:t>YEAR</a:t>
                </a:r>
              </a:p>
            </p:txBody>
          </p:sp>
        </p:grpSp>
        <p:grpSp>
          <p:nvGrpSpPr>
            <p:cNvPr id="42" name="Group 42"/>
            <p:cNvGrpSpPr/>
            <p:nvPr/>
          </p:nvGrpSpPr>
          <p:grpSpPr>
            <a:xfrm>
              <a:off x="5752669" y="3405175"/>
              <a:ext cx="1229752" cy="1279714"/>
              <a:chOff x="0" y="0"/>
              <a:chExt cx="3429024" cy="3568338"/>
            </a:xfrm>
          </p:grpSpPr>
          <p:sp>
            <p:nvSpPr>
              <p:cNvPr id="43" name="Freeform 43"/>
              <p:cNvSpPr/>
              <p:nvPr/>
            </p:nvSpPr>
            <p:spPr>
              <a:xfrm>
                <a:off x="0" y="218440"/>
                <a:ext cx="3427754" cy="3349898"/>
              </a:xfrm>
              <a:custGeom>
                <a:avLst/>
                <a:gdLst/>
                <a:ahLst/>
                <a:cxnLst/>
                <a:rect l="l" t="t" r="r" b="b"/>
                <a:pathLst>
                  <a:path w="3427754" h="3349898">
                    <a:moveTo>
                      <a:pt x="0" y="16510"/>
                    </a:moveTo>
                    <a:cubicBezTo>
                      <a:pt x="0" y="16510"/>
                      <a:pt x="2540" y="345440"/>
                      <a:pt x="2540" y="828690"/>
                    </a:cubicBezTo>
                    <a:cubicBezTo>
                      <a:pt x="2540" y="1510680"/>
                      <a:pt x="7620" y="2168798"/>
                      <a:pt x="7620" y="2429148"/>
                    </a:cubicBezTo>
                    <a:cubicBezTo>
                      <a:pt x="7620" y="2623458"/>
                      <a:pt x="16510" y="3022238"/>
                      <a:pt x="21590" y="3214008"/>
                    </a:cubicBezTo>
                    <a:lnTo>
                      <a:pt x="130810" y="3328308"/>
                    </a:lnTo>
                    <a:cubicBezTo>
                      <a:pt x="275590" y="3335928"/>
                      <a:pt x="543560" y="3349898"/>
                      <a:pt x="793750" y="3349898"/>
                    </a:cubicBezTo>
                    <a:lnTo>
                      <a:pt x="3427754" y="3349898"/>
                    </a:lnTo>
                    <a:lnTo>
                      <a:pt x="3427754" y="735499"/>
                    </a:lnTo>
                    <a:cubicBezTo>
                      <a:pt x="3427754" y="323850"/>
                      <a:pt x="3418864" y="46990"/>
                      <a:pt x="3418864" y="46990"/>
                    </a:cubicBezTo>
                    <a:cubicBezTo>
                      <a:pt x="3263924" y="26670"/>
                      <a:pt x="3107714" y="16510"/>
                      <a:pt x="2950234" y="17780"/>
                    </a:cubicBezTo>
                    <a:cubicBezTo>
                      <a:pt x="2677184" y="17780"/>
                      <a:pt x="944880" y="22860"/>
                      <a:pt x="694690" y="13970"/>
                    </a:cubicBezTo>
                    <a:cubicBezTo>
                      <a:pt x="360680" y="0"/>
                      <a:pt x="0" y="16510"/>
                      <a:pt x="0" y="16510"/>
                    </a:cubicBezTo>
                    <a:close/>
                  </a:path>
                </a:pathLst>
              </a:custGeom>
              <a:solidFill>
                <a:srgbClr val="C44341"/>
              </a:solidFill>
            </p:spPr>
          </p:sp>
          <p:sp>
            <p:nvSpPr>
              <p:cNvPr id="44" name="Freeform 44"/>
              <p:cNvSpPr/>
              <p:nvPr/>
            </p:nvSpPr>
            <p:spPr>
              <a:xfrm>
                <a:off x="21590" y="0"/>
                <a:ext cx="2938804" cy="3548018"/>
              </a:xfrm>
              <a:custGeom>
                <a:avLst/>
                <a:gdLst/>
                <a:ahLst/>
                <a:cxnLst/>
                <a:rect l="l" t="t" r="r" b="b"/>
                <a:pathLst>
                  <a:path w="2938804" h="3548018">
                    <a:moveTo>
                      <a:pt x="0" y="3433718"/>
                    </a:moveTo>
                    <a:lnTo>
                      <a:pt x="109220" y="3548018"/>
                    </a:lnTo>
                    <a:lnTo>
                      <a:pt x="123190" y="3414668"/>
                    </a:lnTo>
                    <a:lnTo>
                      <a:pt x="0" y="3433718"/>
                    </a:lnTo>
                    <a:close/>
                    <a:moveTo>
                      <a:pt x="1739924" y="106680"/>
                    </a:moveTo>
                    <a:cubicBezTo>
                      <a:pt x="1739924" y="106680"/>
                      <a:pt x="2157754" y="64770"/>
                      <a:pt x="2294914" y="55880"/>
                    </a:cubicBezTo>
                    <a:cubicBezTo>
                      <a:pt x="2432074" y="46990"/>
                      <a:pt x="2912134" y="0"/>
                      <a:pt x="2912134" y="0"/>
                    </a:cubicBezTo>
                    <a:cubicBezTo>
                      <a:pt x="2905784" y="41910"/>
                      <a:pt x="2904514" y="86360"/>
                      <a:pt x="2909594" y="128270"/>
                    </a:cubicBezTo>
                    <a:cubicBezTo>
                      <a:pt x="2915944" y="167640"/>
                      <a:pt x="2918484" y="208280"/>
                      <a:pt x="2917214" y="248920"/>
                    </a:cubicBezTo>
                    <a:lnTo>
                      <a:pt x="2938804" y="318770"/>
                    </a:lnTo>
                    <a:lnTo>
                      <a:pt x="2928644" y="419100"/>
                    </a:lnTo>
                    <a:cubicBezTo>
                      <a:pt x="2928644" y="419100"/>
                      <a:pt x="2178074" y="454660"/>
                      <a:pt x="2040914" y="471170"/>
                    </a:cubicBezTo>
                    <a:cubicBezTo>
                      <a:pt x="1903754" y="487680"/>
                      <a:pt x="1699284" y="486410"/>
                      <a:pt x="1699284" y="486410"/>
                    </a:cubicBezTo>
                    <a:cubicBezTo>
                      <a:pt x="1699284" y="486410"/>
                      <a:pt x="1691664" y="365760"/>
                      <a:pt x="1704364" y="322580"/>
                    </a:cubicBezTo>
                    <a:cubicBezTo>
                      <a:pt x="1714524" y="288290"/>
                      <a:pt x="1718334" y="251460"/>
                      <a:pt x="1713254" y="214630"/>
                    </a:cubicBezTo>
                    <a:cubicBezTo>
                      <a:pt x="1713254" y="186690"/>
                      <a:pt x="1739924" y="106680"/>
                      <a:pt x="1739924" y="106680"/>
                    </a:cubicBezTo>
                    <a:close/>
                  </a:path>
                </a:pathLst>
              </a:custGeom>
              <a:solidFill>
                <a:srgbClr val="B00402"/>
              </a:solidFill>
            </p:spPr>
          </p:sp>
        </p:grpSp>
      </p:grpSp>
      <p:sp>
        <p:nvSpPr>
          <p:cNvPr id="53" name="TextBox 53"/>
          <p:cNvSpPr txBox="1"/>
          <p:nvPr/>
        </p:nvSpPr>
        <p:spPr>
          <a:xfrm>
            <a:off x="416228" y="610911"/>
            <a:ext cx="3254968" cy="126509"/>
          </a:xfrm>
          <a:prstGeom prst="rect">
            <a:avLst/>
          </a:prstGeom>
        </p:spPr>
        <p:txBody>
          <a:bodyPr lIns="0" tIns="0" rIns="0" bIns="0" rtlCol="0" anchor="t">
            <a:spAutoFit/>
          </a:bodyPr>
          <a:lstStyle/>
          <a:p>
            <a:pPr>
              <a:lnSpc>
                <a:spcPts val="1125"/>
              </a:lnSpc>
            </a:pPr>
            <a:endParaRPr sz="700"/>
          </a:p>
        </p:txBody>
      </p:sp>
      <p:sp>
        <p:nvSpPr>
          <p:cNvPr id="54" name="TextBox 3">
            <a:extLst>
              <a:ext uri="{FF2B5EF4-FFF2-40B4-BE49-F238E27FC236}">
                <a16:creationId xmlns:a16="http://schemas.microsoft.com/office/drawing/2014/main" id="{3283926E-95EE-4E4A-B9DF-3CDB08127369}"/>
              </a:ext>
            </a:extLst>
          </p:cNvPr>
          <p:cNvSpPr txBox="1"/>
          <p:nvPr/>
        </p:nvSpPr>
        <p:spPr>
          <a:xfrm>
            <a:off x="422422" y="284749"/>
            <a:ext cx="5285627" cy="553998"/>
          </a:xfrm>
          <a:prstGeom prst="rect">
            <a:avLst/>
          </a:prstGeom>
        </p:spPr>
        <p:txBody>
          <a:bodyPr lIns="0" tIns="0" rIns="0" bIns="0" rtlCol="0" anchor="t">
            <a:spAutoFit/>
          </a:bodyPr>
          <a:lstStyle/>
          <a:p>
            <a:pPr lvl="0"/>
            <a:r>
              <a:rPr lang="en-US" sz="3600">
                <a:solidFill>
                  <a:srgbClr val="FF0000"/>
                </a:solidFill>
                <a:latin typeface="+mj-lt"/>
              </a:rPr>
              <a:t>Data Readiness’s Journey</a:t>
            </a:r>
          </a:p>
        </p:txBody>
      </p:sp>
      <p:sp>
        <p:nvSpPr>
          <p:cNvPr id="46" name="TextBox 40">
            <a:extLst>
              <a:ext uri="{FF2B5EF4-FFF2-40B4-BE49-F238E27FC236}">
                <a16:creationId xmlns:a16="http://schemas.microsoft.com/office/drawing/2014/main" id="{D47FFDC1-A15A-466A-80E5-DC40819CB9C6}"/>
              </a:ext>
            </a:extLst>
          </p:cNvPr>
          <p:cNvSpPr txBox="1"/>
          <p:nvPr/>
        </p:nvSpPr>
        <p:spPr>
          <a:xfrm>
            <a:off x="3873061" y="3754328"/>
            <a:ext cx="1202155" cy="615553"/>
          </a:xfrm>
          <a:prstGeom prst="rect">
            <a:avLst/>
          </a:prstGeom>
        </p:spPr>
        <p:txBody>
          <a:bodyPr wrap="square" lIns="0" tIns="0" rIns="0" bIns="0" rtlCol="0" anchor="t">
            <a:spAutoFit/>
          </a:bodyPr>
          <a:lstStyle>
            <a:defPPr>
              <a:defRPr lang="de-DE"/>
            </a:defPPr>
            <a:lvl2pPr marL="218176" lvl="1" indent="-109088">
              <a:lnSpc>
                <a:spcPts val="1172"/>
              </a:lnSpc>
              <a:buFont typeface="Arial"/>
              <a:buChar char="•"/>
              <a:defRPr sz="1011">
                <a:solidFill>
                  <a:srgbClr val="FFFFFF"/>
                </a:solidFill>
                <a:latin typeface="EON Brix Sans 2"/>
              </a:defRPr>
            </a:lvl2pPr>
          </a:lstStyle>
          <a:p>
            <a:pPr marL="109088" lvl="1" indent="0" algn="ctr">
              <a:lnSpc>
                <a:spcPct val="100000"/>
              </a:lnSpc>
              <a:buNone/>
            </a:pPr>
            <a:r>
              <a:rPr lang="en-US" sz="2000"/>
              <a:t>Start Building</a:t>
            </a:r>
          </a:p>
        </p:txBody>
      </p:sp>
      <p:sp>
        <p:nvSpPr>
          <p:cNvPr id="47" name="TextBox 45">
            <a:extLst>
              <a:ext uri="{FF2B5EF4-FFF2-40B4-BE49-F238E27FC236}">
                <a16:creationId xmlns:a16="http://schemas.microsoft.com/office/drawing/2014/main" id="{BCCA05D2-9051-48BC-8DEF-738215CD95EF}"/>
              </a:ext>
            </a:extLst>
          </p:cNvPr>
          <p:cNvSpPr txBox="1"/>
          <p:nvPr/>
        </p:nvSpPr>
        <p:spPr>
          <a:xfrm>
            <a:off x="5550486" y="3754328"/>
            <a:ext cx="1281667" cy="615553"/>
          </a:xfrm>
          <a:prstGeom prst="rect">
            <a:avLst/>
          </a:prstGeom>
        </p:spPr>
        <p:txBody>
          <a:bodyPr wrap="square" lIns="0" tIns="0" rIns="0" bIns="0" rtlCol="0" anchor="t">
            <a:spAutoFit/>
          </a:bodyPr>
          <a:lstStyle>
            <a:defPPr>
              <a:defRPr lang="de-DE"/>
            </a:defPPr>
            <a:lvl2pPr marL="218176" lvl="1" indent="-109088">
              <a:lnSpc>
                <a:spcPts val="1172"/>
              </a:lnSpc>
              <a:buFont typeface="Arial"/>
              <a:buChar char="•"/>
              <a:defRPr sz="1011">
                <a:solidFill>
                  <a:srgbClr val="FFFFFF"/>
                </a:solidFill>
                <a:latin typeface="EON Brix Sans 2"/>
              </a:defRPr>
            </a:lvl2pPr>
          </a:lstStyle>
          <a:p>
            <a:pPr marL="109088" lvl="1" indent="0" algn="ctr">
              <a:lnSpc>
                <a:spcPct val="100000"/>
              </a:lnSpc>
              <a:buNone/>
            </a:pPr>
            <a:r>
              <a:rPr lang="en-US" sz="2000"/>
              <a:t>Add New Levels</a:t>
            </a:r>
          </a:p>
        </p:txBody>
      </p:sp>
      <p:sp>
        <p:nvSpPr>
          <p:cNvPr id="48" name="TextBox 45">
            <a:extLst>
              <a:ext uri="{FF2B5EF4-FFF2-40B4-BE49-F238E27FC236}">
                <a16:creationId xmlns:a16="http://schemas.microsoft.com/office/drawing/2014/main" id="{C09C632F-C56D-D021-2761-F2F76882228B}"/>
              </a:ext>
            </a:extLst>
          </p:cNvPr>
          <p:cNvSpPr txBox="1"/>
          <p:nvPr/>
        </p:nvSpPr>
        <p:spPr>
          <a:xfrm>
            <a:off x="7228955" y="3745191"/>
            <a:ext cx="1281667" cy="923330"/>
          </a:xfrm>
          <a:prstGeom prst="rect">
            <a:avLst/>
          </a:prstGeom>
        </p:spPr>
        <p:txBody>
          <a:bodyPr wrap="square" lIns="0" tIns="0" rIns="0" bIns="0" rtlCol="0" anchor="t">
            <a:spAutoFit/>
          </a:bodyPr>
          <a:lstStyle>
            <a:defPPr>
              <a:defRPr lang="de-DE"/>
            </a:defPPr>
            <a:lvl2pPr marL="218176" lvl="1" indent="-109088">
              <a:lnSpc>
                <a:spcPts val="1172"/>
              </a:lnSpc>
              <a:buFont typeface="Arial"/>
              <a:buChar char="•"/>
              <a:defRPr sz="1011">
                <a:solidFill>
                  <a:srgbClr val="FFFFFF"/>
                </a:solidFill>
                <a:latin typeface="EON Brix Sans 2"/>
              </a:defRPr>
            </a:lvl2pPr>
          </a:lstStyle>
          <a:p>
            <a:pPr marL="109088" lvl="1" indent="0" algn="ctr">
              <a:lnSpc>
                <a:spcPct val="100000"/>
              </a:lnSpc>
              <a:buNone/>
            </a:pPr>
            <a:r>
              <a:rPr lang="en-US" sz="2000"/>
              <a:t>Make it mandatory?</a:t>
            </a:r>
          </a:p>
        </p:txBody>
      </p:sp>
      <p:grpSp>
        <p:nvGrpSpPr>
          <p:cNvPr id="49" name="Group 48">
            <a:extLst>
              <a:ext uri="{FF2B5EF4-FFF2-40B4-BE49-F238E27FC236}">
                <a16:creationId xmlns:a16="http://schemas.microsoft.com/office/drawing/2014/main" id="{97F62418-F4D0-4747-7316-6DD19E0328EE}"/>
              </a:ext>
            </a:extLst>
          </p:cNvPr>
          <p:cNvGrpSpPr/>
          <p:nvPr/>
        </p:nvGrpSpPr>
        <p:grpSpPr>
          <a:xfrm>
            <a:off x="7231454" y="1158517"/>
            <a:ext cx="1277472" cy="3528427"/>
            <a:chOff x="224700" y="1154612"/>
            <a:chExt cx="1277472" cy="3528427"/>
          </a:xfrm>
        </p:grpSpPr>
        <p:grpSp>
          <p:nvGrpSpPr>
            <p:cNvPr id="50" name="Group 6">
              <a:extLst>
                <a:ext uri="{FF2B5EF4-FFF2-40B4-BE49-F238E27FC236}">
                  <a16:creationId xmlns:a16="http://schemas.microsoft.com/office/drawing/2014/main" id="{77DB5CC1-63FD-A423-2573-601D484C2785}"/>
                </a:ext>
              </a:extLst>
            </p:cNvPr>
            <p:cNvGrpSpPr/>
            <p:nvPr/>
          </p:nvGrpSpPr>
          <p:grpSpPr>
            <a:xfrm>
              <a:off x="416228" y="1154612"/>
              <a:ext cx="942136" cy="1200803"/>
              <a:chOff x="0" y="566240"/>
              <a:chExt cx="2512361" cy="3202141"/>
            </a:xfrm>
          </p:grpSpPr>
          <p:pic>
            <p:nvPicPr>
              <p:cNvPr id="58" name="Picture 7">
                <a:extLst>
                  <a:ext uri="{FF2B5EF4-FFF2-40B4-BE49-F238E27FC236}">
                    <a16:creationId xmlns:a16="http://schemas.microsoft.com/office/drawing/2014/main" id="{451338BF-AA07-193F-66A0-9076F5FE999C}"/>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262693" y="1815312"/>
                <a:ext cx="1955567" cy="1953069"/>
              </a:xfrm>
              <a:prstGeom prst="rect">
                <a:avLst/>
              </a:prstGeom>
            </p:spPr>
          </p:pic>
          <p:sp>
            <p:nvSpPr>
              <p:cNvPr id="59" name="TextBox 8">
                <a:extLst>
                  <a:ext uri="{FF2B5EF4-FFF2-40B4-BE49-F238E27FC236}">
                    <a16:creationId xmlns:a16="http://schemas.microsoft.com/office/drawing/2014/main" id="{12A03E0F-EDDF-7646-4D64-207420E90473}"/>
                  </a:ext>
                </a:extLst>
              </p:cNvPr>
              <p:cNvSpPr txBox="1"/>
              <p:nvPr/>
            </p:nvSpPr>
            <p:spPr>
              <a:xfrm>
                <a:off x="0" y="1114776"/>
                <a:ext cx="2512361" cy="700536"/>
              </a:xfrm>
              <a:prstGeom prst="rect">
                <a:avLst/>
              </a:prstGeom>
            </p:spPr>
            <p:txBody>
              <a:bodyPr lIns="0" tIns="0" rIns="0" bIns="0" rtlCol="0" anchor="t">
                <a:spAutoFit/>
              </a:bodyPr>
              <a:lstStyle/>
              <a:p>
                <a:pPr algn="ctr">
                  <a:lnSpc>
                    <a:spcPts val="2188"/>
                  </a:lnSpc>
                </a:pPr>
                <a:r>
                  <a:rPr lang="en-US" sz="1750" spc="175">
                    <a:solidFill>
                      <a:srgbClr val="000000"/>
                    </a:solidFill>
                    <a:latin typeface="EON Brix Sans 1"/>
                  </a:rPr>
                  <a:t>2022</a:t>
                </a:r>
              </a:p>
            </p:txBody>
          </p:sp>
          <p:sp>
            <p:nvSpPr>
              <p:cNvPr id="60" name="TextBox 9">
                <a:extLst>
                  <a:ext uri="{FF2B5EF4-FFF2-40B4-BE49-F238E27FC236}">
                    <a16:creationId xmlns:a16="http://schemas.microsoft.com/office/drawing/2014/main" id="{2D686244-0298-A0FF-EA7A-82D1D74FD92B}"/>
                  </a:ext>
                </a:extLst>
              </p:cNvPr>
              <p:cNvSpPr txBox="1"/>
              <p:nvPr/>
            </p:nvSpPr>
            <p:spPr>
              <a:xfrm>
                <a:off x="0" y="566240"/>
                <a:ext cx="2512361" cy="379592"/>
              </a:xfrm>
              <a:prstGeom prst="rect">
                <a:avLst/>
              </a:prstGeom>
            </p:spPr>
            <p:txBody>
              <a:bodyPr lIns="0" tIns="0" rIns="0" bIns="0" rtlCol="0" anchor="t">
                <a:spAutoFit/>
              </a:bodyPr>
              <a:lstStyle/>
              <a:p>
                <a:pPr algn="ctr">
                  <a:lnSpc>
                    <a:spcPts val="1151"/>
                  </a:lnSpc>
                </a:pPr>
                <a:r>
                  <a:rPr lang="en-US" sz="921" spc="92">
                    <a:solidFill>
                      <a:srgbClr val="000000"/>
                    </a:solidFill>
                    <a:latin typeface="EON Brix Sans 2 Bold"/>
                  </a:rPr>
                  <a:t>YEAR</a:t>
                </a:r>
              </a:p>
            </p:txBody>
          </p:sp>
        </p:grpSp>
        <p:grpSp>
          <p:nvGrpSpPr>
            <p:cNvPr id="51" name="Group 26">
              <a:extLst>
                <a:ext uri="{FF2B5EF4-FFF2-40B4-BE49-F238E27FC236}">
                  <a16:creationId xmlns:a16="http://schemas.microsoft.com/office/drawing/2014/main" id="{5F993171-7D48-D1C6-78C1-322410A5B5B1}"/>
                </a:ext>
              </a:extLst>
            </p:cNvPr>
            <p:cNvGrpSpPr/>
            <p:nvPr/>
          </p:nvGrpSpPr>
          <p:grpSpPr>
            <a:xfrm>
              <a:off x="224700" y="3407026"/>
              <a:ext cx="1277472" cy="1276013"/>
              <a:chOff x="-127253" y="0"/>
              <a:chExt cx="3406592" cy="3402700"/>
            </a:xfrm>
          </p:grpSpPr>
          <p:grpSp>
            <p:nvGrpSpPr>
              <p:cNvPr id="52" name="Group 27">
                <a:extLst>
                  <a:ext uri="{FF2B5EF4-FFF2-40B4-BE49-F238E27FC236}">
                    <a16:creationId xmlns:a16="http://schemas.microsoft.com/office/drawing/2014/main" id="{5904186F-F76E-7724-BAAC-21AFF779FFAE}"/>
                  </a:ext>
                </a:extLst>
              </p:cNvPr>
              <p:cNvGrpSpPr/>
              <p:nvPr/>
            </p:nvGrpSpPr>
            <p:grpSpPr>
              <a:xfrm>
                <a:off x="0" y="0"/>
                <a:ext cx="3279339" cy="3402700"/>
                <a:chOff x="0" y="0"/>
                <a:chExt cx="3429024" cy="3558016"/>
              </a:xfrm>
            </p:grpSpPr>
            <p:sp>
              <p:nvSpPr>
                <p:cNvPr id="56" name="Freeform 28">
                  <a:extLst>
                    <a:ext uri="{FF2B5EF4-FFF2-40B4-BE49-F238E27FC236}">
                      <a16:creationId xmlns:a16="http://schemas.microsoft.com/office/drawing/2014/main" id="{CA438012-A22E-593E-F59B-27F7D6A1B66A}"/>
                    </a:ext>
                  </a:extLst>
                </p:cNvPr>
                <p:cNvSpPr/>
                <p:nvPr/>
              </p:nvSpPr>
              <p:spPr>
                <a:xfrm>
                  <a:off x="0" y="218440"/>
                  <a:ext cx="3427754" cy="3339576"/>
                </a:xfrm>
                <a:custGeom>
                  <a:avLst/>
                  <a:gdLst/>
                  <a:ahLst/>
                  <a:cxnLst/>
                  <a:rect l="l" t="t" r="r" b="b"/>
                  <a:pathLst>
                    <a:path w="3427754" h="3339576">
                      <a:moveTo>
                        <a:pt x="0" y="16510"/>
                      </a:moveTo>
                      <a:cubicBezTo>
                        <a:pt x="0" y="16510"/>
                        <a:pt x="2540" y="345440"/>
                        <a:pt x="2540" y="826842"/>
                      </a:cubicBezTo>
                      <a:cubicBezTo>
                        <a:pt x="2540" y="1502039"/>
                        <a:pt x="7620" y="2158476"/>
                        <a:pt x="7620" y="2418826"/>
                      </a:cubicBezTo>
                      <a:cubicBezTo>
                        <a:pt x="7620" y="2613136"/>
                        <a:pt x="16510" y="3011916"/>
                        <a:pt x="21590" y="3203686"/>
                      </a:cubicBezTo>
                      <a:lnTo>
                        <a:pt x="130810" y="3317986"/>
                      </a:lnTo>
                      <a:cubicBezTo>
                        <a:pt x="275590" y="3325606"/>
                        <a:pt x="543560" y="3339576"/>
                        <a:pt x="793750" y="3339576"/>
                      </a:cubicBezTo>
                      <a:lnTo>
                        <a:pt x="3427754" y="3339576"/>
                      </a:lnTo>
                      <a:lnTo>
                        <a:pt x="3427754" y="734579"/>
                      </a:lnTo>
                      <a:cubicBezTo>
                        <a:pt x="3427754" y="323850"/>
                        <a:pt x="3418864" y="46990"/>
                        <a:pt x="3418864" y="46990"/>
                      </a:cubicBezTo>
                      <a:cubicBezTo>
                        <a:pt x="3263924" y="26670"/>
                        <a:pt x="3107714" y="16510"/>
                        <a:pt x="2950234" y="17780"/>
                      </a:cubicBezTo>
                      <a:cubicBezTo>
                        <a:pt x="2677184" y="17780"/>
                        <a:pt x="944880" y="22860"/>
                        <a:pt x="694690" y="13970"/>
                      </a:cubicBezTo>
                      <a:cubicBezTo>
                        <a:pt x="360680" y="0"/>
                        <a:pt x="0" y="16510"/>
                        <a:pt x="0" y="16510"/>
                      </a:cubicBezTo>
                      <a:close/>
                    </a:path>
                  </a:pathLst>
                </a:custGeom>
                <a:solidFill>
                  <a:srgbClr val="EA1C0A"/>
                </a:solidFill>
              </p:spPr>
            </p:sp>
            <p:sp>
              <p:nvSpPr>
                <p:cNvPr id="57" name="Freeform 29">
                  <a:extLst>
                    <a:ext uri="{FF2B5EF4-FFF2-40B4-BE49-F238E27FC236}">
                      <a16:creationId xmlns:a16="http://schemas.microsoft.com/office/drawing/2014/main" id="{A5794718-0A37-2304-F233-41F0AF939B9E}"/>
                    </a:ext>
                  </a:extLst>
                </p:cNvPr>
                <p:cNvSpPr/>
                <p:nvPr/>
              </p:nvSpPr>
              <p:spPr>
                <a:xfrm>
                  <a:off x="21590" y="0"/>
                  <a:ext cx="2938804" cy="3537696"/>
                </a:xfrm>
                <a:custGeom>
                  <a:avLst/>
                  <a:gdLst/>
                  <a:ahLst/>
                  <a:cxnLst/>
                  <a:rect l="l" t="t" r="r" b="b"/>
                  <a:pathLst>
                    <a:path w="2938804" h="3537696">
                      <a:moveTo>
                        <a:pt x="0" y="3423396"/>
                      </a:moveTo>
                      <a:lnTo>
                        <a:pt x="109220" y="3537696"/>
                      </a:lnTo>
                      <a:lnTo>
                        <a:pt x="123190" y="3404346"/>
                      </a:lnTo>
                      <a:lnTo>
                        <a:pt x="0" y="3423396"/>
                      </a:lnTo>
                      <a:close/>
                      <a:moveTo>
                        <a:pt x="1739924" y="106680"/>
                      </a:moveTo>
                      <a:cubicBezTo>
                        <a:pt x="1739924" y="106680"/>
                        <a:pt x="2157754" y="64770"/>
                        <a:pt x="2294914" y="55880"/>
                      </a:cubicBezTo>
                      <a:cubicBezTo>
                        <a:pt x="2432074" y="46990"/>
                        <a:pt x="2912134" y="0"/>
                        <a:pt x="2912134" y="0"/>
                      </a:cubicBezTo>
                      <a:cubicBezTo>
                        <a:pt x="2905784" y="41910"/>
                        <a:pt x="2904514" y="86360"/>
                        <a:pt x="2909594" y="128270"/>
                      </a:cubicBezTo>
                      <a:cubicBezTo>
                        <a:pt x="2915944" y="167640"/>
                        <a:pt x="2918484" y="208280"/>
                        <a:pt x="2917214" y="248920"/>
                      </a:cubicBezTo>
                      <a:lnTo>
                        <a:pt x="2938804" y="318770"/>
                      </a:lnTo>
                      <a:lnTo>
                        <a:pt x="2928644" y="419100"/>
                      </a:lnTo>
                      <a:cubicBezTo>
                        <a:pt x="2928644" y="419100"/>
                        <a:pt x="2178074" y="454660"/>
                        <a:pt x="2040914" y="471170"/>
                      </a:cubicBezTo>
                      <a:cubicBezTo>
                        <a:pt x="1903754" y="487680"/>
                        <a:pt x="1699284" y="486410"/>
                        <a:pt x="1699284" y="486410"/>
                      </a:cubicBezTo>
                      <a:cubicBezTo>
                        <a:pt x="1699284" y="486410"/>
                        <a:pt x="1691664" y="365760"/>
                        <a:pt x="1704364" y="322580"/>
                      </a:cubicBezTo>
                      <a:cubicBezTo>
                        <a:pt x="1714524" y="288290"/>
                        <a:pt x="1718334" y="251460"/>
                        <a:pt x="1713254" y="214630"/>
                      </a:cubicBezTo>
                      <a:cubicBezTo>
                        <a:pt x="1713254" y="186690"/>
                        <a:pt x="1739924" y="106680"/>
                        <a:pt x="1739924" y="106680"/>
                      </a:cubicBezTo>
                      <a:close/>
                    </a:path>
                  </a:pathLst>
                </a:custGeom>
                <a:solidFill>
                  <a:srgbClr val="B00402"/>
                </a:solidFill>
              </p:spPr>
            </p:sp>
          </p:grpSp>
          <p:sp>
            <p:nvSpPr>
              <p:cNvPr id="55" name="TextBox 30">
                <a:extLst>
                  <a:ext uri="{FF2B5EF4-FFF2-40B4-BE49-F238E27FC236}">
                    <a16:creationId xmlns:a16="http://schemas.microsoft.com/office/drawing/2014/main" id="{EB961EE0-5776-D97B-6C6D-7C2A57A9584F}"/>
                  </a:ext>
                </a:extLst>
              </p:cNvPr>
              <p:cNvSpPr txBox="1"/>
              <p:nvPr/>
            </p:nvSpPr>
            <p:spPr>
              <a:xfrm>
                <a:off x="-127253" y="574696"/>
                <a:ext cx="3404448" cy="2462212"/>
              </a:xfrm>
              <a:prstGeom prst="rect">
                <a:avLst/>
              </a:prstGeom>
            </p:spPr>
            <p:txBody>
              <a:bodyPr wrap="square" lIns="0" tIns="0" rIns="0" bIns="0" rtlCol="0" anchor="t">
                <a:spAutoFit/>
              </a:bodyPr>
              <a:lstStyle/>
              <a:p>
                <a:pPr marL="109088" lvl="1" algn="ctr"/>
                <a:r>
                  <a:rPr lang="en-US" sz="2000">
                    <a:solidFill>
                      <a:srgbClr val="FFFFFF"/>
                    </a:solidFill>
                    <a:latin typeface="EON Brix Sans 2"/>
                  </a:rPr>
                  <a:t>Grow,</a:t>
                </a:r>
              </a:p>
              <a:p>
                <a:pPr marL="109088" lvl="1" algn="ctr"/>
                <a:r>
                  <a:rPr lang="en-US" sz="2000">
                    <a:solidFill>
                      <a:srgbClr val="FFFFFF"/>
                    </a:solidFill>
                    <a:latin typeface="EON Brix Sans 2"/>
                  </a:rPr>
                  <a:t>Scale, Formalize</a:t>
                </a:r>
              </a:p>
            </p:txBody>
          </p:sp>
        </p:grpSp>
      </p:grpSp>
      <p:grpSp>
        <p:nvGrpSpPr>
          <p:cNvPr id="61" name="Group 60">
            <a:extLst>
              <a:ext uri="{FF2B5EF4-FFF2-40B4-BE49-F238E27FC236}">
                <a16:creationId xmlns:a16="http://schemas.microsoft.com/office/drawing/2014/main" id="{8704CAC3-1FDB-5543-33EB-E9C01402F1C2}"/>
              </a:ext>
            </a:extLst>
          </p:cNvPr>
          <p:cNvGrpSpPr/>
          <p:nvPr/>
        </p:nvGrpSpPr>
        <p:grpSpPr>
          <a:xfrm>
            <a:off x="5650668" y="102774"/>
            <a:ext cx="3486977" cy="815987"/>
            <a:chOff x="1483159" y="407710"/>
            <a:chExt cx="5795823" cy="1240160"/>
          </a:xfrm>
        </p:grpSpPr>
        <p:grpSp>
          <p:nvGrpSpPr>
            <p:cNvPr id="62" name="Group 61">
              <a:extLst>
                <a:ext uri="{FF2B5EF4-FFF2-40B4-BE49-F238E27FC236}">
                  <a16:creationId xmlns:a16="http://schemas.microsoft.com/office/drawing/2014/main" id="{3849757A-2F32-B21A-3434-DD57AED55507}"/>
                </a:ext>
              </a:extLst>
            </p:cNvPr>
            <p:cNvGrpSpPr/>
            <p:nvPr/>
          </p:nvGrpSpPr>
          <p:grpSpPr>
            <a:xfrm>
              <a:off x="1865018" y="556812"/>
              <a:ext cx="5413964" cy="1091058"/>
              <a:chOff x="514350" y="875585"/>
              <a:chExt cx="5413964" cy="1091058"/>
            </a:xfrm>
          </p:grpSpPr>
          <p:grpSp>
            <p:nvGrpSpPr>
              <p:cNvPr id="67" name="Group 8">
                <a:extLst>
                  <a:ext uri="{FF2B5EF4-FFF2-40B4-BE49-F238E27FC236}">
                    <a16:creationId xmlns:a16="http://schemas.microsoft.com/office/drawing/2014/main" id="{DC6020EA-33D6-BAE2-17E2-AA0D133BD4B0}"/>
                  </a:ext>
                </a:extLst>
              </p:cNvPr>
              <p:cNvGrpSpPr/>
              <p:nvPr/>
            </p:nvGrpSpPr>
            <p:grpSpPr>
              <a:xfrm>
                <a:off x="514350" y="875585"/>
                <a:ext cx="5198878" cy="1091058"/>
                <a:chOff x="0" y="2"/>
                <a:chExt cx="7440300" cy="2909488"/>
              </a:xfrm>
            </p:grpSpPr>
            <p:grpSp>
              <p:nvGrpSpPr>
                <p:cNvPr id="70" name="Group 9">
                  <a:extLst>
                    <a:ext uri="{FF2B5EF4-FFF2-40B4-BE49-F238E27FC236}">
                      <a16:creationId xmlns:a16="http://schemas.microsoft.com/office/drawing/2014/main" id="{4681698B-050A-D3AE-5645-A3F9F828A19A}"/>
                    </a:ext>
                  </a:extLst>
                </p:cNvPr>
                <p:cNvGrpSpPr/>
                <p:nvPr/>
              </p:nvGrpSpPr>
              <p:grpSpPr>
                <a:xfrm>
                  <a:off x="0" y="2"/>
                  <a:ext cx="7440300" cy="2909488"/>
                  <a:chOff x="0" y="1"/>
                  <a:chExt cx="3262824" cy="1275909"/>
                </a:xfrm>
              </p:grpSpPr>
              <p:sp>
                <p:nvSpPr>
                  <p:cNvPr id="72" name="Freeform 10">
                    <a:extLst>
                      <a:ext uri="{FF2B5EF4-FFF2-40B4-BE49-F238E27FC236}">
                        <a16:creationId xmlns:a16="http://schemas.microsoft.com/office/drawing/2014/main" id="{9CB66E8F-937E-5E0A-1D3C-EF84EB6C30CB}"/>
                      </a:ext>
                    </a:extLst>
                  </p:cNvPr>
                  <p:cNvSpPr/>
                  <p:nvPr/>
                </p:nvSpPr>
                <p:spPr>
                  <a:xfrm>
                    <a:off x="0" y="1"/>
                    <a:ext cx="3262824" cy="1275909"/>
                  </a:xfrm>
                  <a:custGeom>
                    <a:avLst/>
                    <a:gdLst/>
                    <a:ahLst/>
                    <a:cxnLst/>
                    <a:rect l="l" t="t" r="r" b="b"/>
                    <a:pathLst>
                      <a:path w="3262824" h="1472011">
                        <a:moveTo>
                          <a:pt x="3138364" y="1472011"/>
                        </a:moveTo>
                        <a:lnTo>
                          <a:pt x="124460" y="1472011"/>
                        </a:lnTo>
                        <a:cubicBezTo>
                          <a:pt x="55880" y="1472011"/>
                          <a:pt x="0" y="1416131"/>
                          <a:pt x="0" y="1347551"/>
                        </a:cubicBezTo>
                        <a:lnTo>
                          <a:pt x="0" y="124460"/>
                        </a:lnTo>
                        <a:cubicBezTo>
                          <a:pt x="0" y="55880"/>
                          <a:pt x="55880" y="0"/>
                          <a:pt x="124460" y="0"/>
                        </a:cubicBezTo>
                        <a:lnTo>
                          <a:pt x="3138364" y="0"/>
                        </a:lnTo>
                        <a:cubicBezTo>
                          <a:pt x="3206944" y="0"/>
                          <a:pt x="3262824" y="55880"/>
                          <a:pt x="3262824" y="124460"/>
                        </a:cubicBezTo>
                        <a:lnTo>
                          <a:pt x="3262824" y="1347551"/>
                        </a:lnTo>
                        <a:cubicBezTo>
                          <a:pt x="3262824" y="1416131"/>
                          <a:pt x="3206944" y="1472011"/>
                          <a:pt x="3138364" y="1472011"/>
                        </a:cubicBezTo>
                        <a:close/>
                      </a:path>
                    </a:pathLst>
                  </a:custGeom>
                  <a:ln/>
                </p:spPr>
                <p:style>
                  <a:lnRef idx="2">
                    <a:schemeClr val="dk1"/>
                  </a:lnRef>
                  <a:fillRef idx="1">
                    <a:schemeClr val="lt1"/>
                  </a:fillRef>
                  <a:effectRef idx="0">
                    <a:schemeClr val="dk1"/>
                  </a:effectRef>
                  <a:fontRef idx="minor">
                    <a:schemeClr val="dk1"/>
                  </a:fontRef>
                </p:style>
              </p:sp>
            </p:grpSp>
            <p:sp>
              <p:nvSpPr>
                <p:cNvPr id="71" name="TextBox 11">
                  <a:extLst>
                    <a:ext uri="{FF2B5EF4-FFF2-40B4-BE49-F238E27FC236}">
                      <a16:creationId xmlns:a16="http://schemas.microsoft.com/office/drawing/2014/main" id="{CCCE7BF9-4D50-D1F7-364E-AA2B7CDD6DF2}"/>
                    </a:ext>
                  </a:extLst>
                </p:cNvPr>
                <p:cNvSpPr txBox="1"/>
                <p:nvPr/>
              </p:nvSpPr>
              <p:spPr>
                <a:xfrm>
                  <a:off x="472877" y="574096"/>
                  <a:ext cx="6494549" cy="1496857"/>
                </a:xfrm>
                <a:prstGeom prst="rect">
                  <a:avLst/>
                </a:prstGeom>
              </p:spPr>
              <p:txBody>
                <a:bodyPr lIns="0" tIns="0" rIns="0" bIns="0" rtlCol="0" anchor="t">
                  <a:spAutoFit/>
                </a:bodyPr>
                <a:lstStyle/>
                <a:p>
                  <a:pPr algn="ctr">
                    <a:spcBef>
                      <a:spcPct val="0"/>
                    </a:spcBef>
                  </a:pPr>
                  <a:r>
                    <a:rPr lang="en-US" sz="1200" i="1">
                      <a:solidFill>
                        <a:srgbClr val="EA1C0A"/>
                      </a:solidFill>
                      <a:latin typeface="+mn-lt"/>
                    </a:rPr>
                    <a:t>“There is only one way to eat an elephant: a bite at a time.”</a:t>
                  </a:r>
                </a:p>
              </p:txBody>
            </p:sp>
          </p:grpSp>
          <p:sp>
            <p:nvSpPr>
              <p:cNvPr id="68" name="TextBox 11">
                <a:extLst>
                  <a:ext uri="{FF2B5EF4-FFF2-40B4-BE49-F238E27FC236}">
                    <a16:creationId xmlns:a16="http://schemas.microsoft.com/office/drawing/2014/main" id="{6EFD5D16-46CC-A8F6-2655-546BA9404EF2}"/>
                  </a:ext>
                </a:extLst>
              </p:cNvPr>
              <p:cNvSpPr txBox="1"/>
              <p:nvPr/>
            </p:nvSpPr>
            <p:spPr>
              <a:xfrm>
                <a:off x="3492857" y="1592387"/>
                <a:ext cx="2435457" cy="280661"/>
              </a:xfrm>
              <a:prstGeom prst="rect">
                <a:avLst/>
              </a:prstGeom>
            </p:spPr>
            <p:txBody>
              <a:bodyPr wrap="square" lIns="0" tIns="0" rIns="0" bIns="0" rtlCol="0" anchor="t">
                <a:spAutoFit/>
              </a:bodyPr>
              <a:lstStyle/>
              <a:p>
                <a:pPr algn="ctr">
                  <a:spcBef>
                    <a:spcPct val="0"/>
                  </a:spcBef>
                </a:pPr>
                <a:r>
                  <a:rPr lang="en-US" sz="1200">
                    <a:solidFill>
                      <a:srgbClr val="EA1C0A"/>
                    </a:solidFill>
                    <a:latin typeface="+mn-lt"/>
                  </a:rPr>
                  <a:t>Desmond Tutu</a:t>
                </a:r>
              </a:p>
            </p:txBody>
          </p:sp>
        </p:grpSp>
        <p:grpSp>
          <p:nvGrpSpPr>
            <p:cNvPr id="63" name="Group 62">
              <a:extLst>
                <a:ext uri="{FF2B5EF4-FFF2-40B4-BE49-F238E27FC236}">
                  <a16:creationId xmlns:a16="http://schemas.microsoft.com/office/drawing/2014/main" id="{F378C15D-41DD-7894-4236-B74C5CC7A93B}"/>
                </a:ext>
              </a:extLst>
            </p:cNvPr>
            <p:cNvGrpSpPr/>
            <p:nvPr/>
          </p:nvGrpSpPr>
          <p:grpSpPr>
            <a:xfrm>
              <a:off x="1483159" y="407710"/>
              <a:ext cx="735026" cy="831196"/>
              <a:chOff x="637845" y="538434"/>
              <a:chExt cx="735026" cy="831196"/>
            </a:xfrm>
          </p:grpSpPr>
          <p:grpSp>
            <p:nvGrpSpPr>
              <p:cNvPr id="64" name="Group 13">
                <a:extLst>
                  <a:ext uri="{FF2B5EF4-FFF2-40B4-BE49-F238E27FC236}">
                    <a16:creationId xmlns:a16="http://schemas.microsoft.com/office/drawing/2014/main" id="{E9882BB2-A27A-789A-D272-77CFE4F90212}"/>
                  </a:ext>
                </a:extLst>
              </p:cNvPr>
              <p:cNvGrpSpPr/>
              <p:nvPr/>
            </p:nvGrpSpPr>
            <p:grpSpPr>
              <a:xfrm>
                <a:off x="637845" y="538434"/>
                <a:ext cx="735026" cy="831196"/>
                <a:chOff x="435194" y="210942"/>
                <a:chExt cx="1921015" cy="695877"/>
              </a:xfrm>
            </p:grpSpPr>
            <p:sp>
              <p:nvSpPr>
                <p:cNvPr id="66" name="Freeform 14">
                  <a:extLst>
                    <a:ext uri="{FF2B5EF4-FFF2-40B4-BE49-F238E27FC236}">
                      <a16:creationId xmlns:a16="http://schemas.microsoft.com/office/drawing/2014/main" id="{55A4B886-968A-B340-F081-B27E38729818}"/>
                    </a:ext>
                  </a:extLst>
                </p:cNvPr>
                <p:cNvSpPr/>
                <p:nvPr/>
              </p:nvSpPr>
              <p:spPr>
                <a:xfrm>
                  <a:off x="435194" y="210942"/>
                  <a:ext cx="1921015" cy="695877"/>
                </a:xfrm>
                <a:custGeom>
                  <a:avLst/>
                  <a:gdLst/>
                  <a:ahLst/>
                  <a:cxnLst/>
                  <a:rect l="l" t="t" r="r" b="b"/>
                  <a:pathLst>
                    <a:path w="2356215" h="671539">
                      <a:moveTo>
                        <a:pt x="2231754" y="671539"/>
                      </a:moveTo>
                      <a:lnTo>
                        <a:pt x="124460" y="671539"/>
                      </a:lnTo>
                      <a:cubicBezTo>
                        <a:pt x="55880" y="671539"/>
                        <a:pt x="0" y="615659"/>
                        <a:pt x="0" y="547079"/>
                      </a:cubicBezTo>
                      <a:lnTo>
                        <a:pt x="0" y="124460"/>
                      </a:lnTo>
                      <a:cubicBezTo>
                        <a:pt x="0" y="55880"/>
                        <a:pt x="55880" y="0"/>
                        <a:pt x="124460" y="0"/>
                      </a:cubicBezTo>
                      <a:lnTo>
                        <a:pt x="2231754" y="0"/>
                      </a:lnTo>
                      <a:cubicBezTo>
                        <a:pt x="2300335" y="0"/>
                        <a:pt x="2356215" y="55880"/>
                        <a:pt x="2356215" y="124460"/>
                      </a:cubicBezTo>
                      <a:lnTo>
                        <a:pt x="2356215" y="547079"/>
                      </a:lnTo>
                      <a:cubicBezTo>
                        <a:pt x="2356215" y="615659"/>
                        <a:pt x="2300335" y="671539"/>
                        <a:pt x="2231754" y="671539"/>
                      </a:cubicBezTo>
                      <a:close/>
                    </a:path>
                  </a:pathLst>
                </a:custGeom>
                <a:solidFill>
                  <a:srgbClr val="EA1C0A"/>
                </a:solidFill>
              </p:spPr>
            </p:sp>
          </p:grpSp>
          <p:pic>
            <p:nvPicPr>
              <p:cNvPr id="65" name="Picture 64" descr="Icon&#10;&#10;Description automatically generated">
                <a:extLst>
                  <a:ext uri="{FF2B5EF4-FFF2-40B4-BE49-F238E27FC236}">
                    <a16:creationId xmlns:a16="http://schemas.microsoft.com/office/drawing/2014/main" id="{FDEBAB94-C764-F125-770B-94DE71DAAF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7846" y="601160"/>
                <a:ext cx="680823" cy="680821"/>
              </a:xfrm>
              <a:prstGeom prst="rect">
                <a:avLst/>
              </a:prstGeom>
            </p:spPr>
          </p:pic>
        </p:grpSp>
      </p:grpSp>
    </p:spTree>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30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300" fill="hold"/>
                                        <p:tgtEl>
                                          <p:spTgt spid="2"/>
                                        </p:tgtEl>
                                        <p:attrNameLst>
                                          <p:attrName>ppt_x</p:attrName>
                                        </p:attrNameLst>
                                      </p:cBhvr>
                                      <p:tavLst>
                                        <p:tav tm="0">
                                          <p:val>
                                            <p:strVal val="#ppt_x"/>
                                          </p:val>
                                        </p:tav>
                                        <p:tav tm="100000">
                                          <p:val>
                                            <p:strVal val="#ppt_x"/>
                                          </p:val>
                                        </p:tav>
                                      </p:tavLst>
                                    </p:anim>
                                    <p:anim calcmode="lin" valueType="num">
                                      <p:cBhvr additive="base">
                                        <p:cTn id="8" dur="300" fill="hold"/>
                                        <p:tgtEl>
                                          <p:spTgt spid="2"/>
                                        </p:tgtEl>
                                        <p:attrNameLst>
                                          <p:attrName>ppt_y</p:attrName>
                                        </p:attrNameLst>
                                      </p:cBhvr>
                                      <p:tavLst>
                                        <p:tav tm="0">
                                          <p:val>
                                            <p:strVal val="1+#ppt_h/2"/>
                                          </p:val>
                                        </p:tav>
                                        <p:tav tm="100000">
                                          <p:val>
                                            <p:strVal val="#ppt_y"/>
                                          </p:val>
                                        </p:tav>
                                      </p:tavLst>
                                    </p:anim>
                                  </p:childTnLst>
                                </p:cTn>
                              </p:par>
                            </p:childTnLst>
                          </p:cTn>
                        </p:par>
                        <p:par>
                          <p:cTn id="9" fill="hold">
                            <p:stCondLst>
                              <p:cond delay="600"/>
                            </p:stCondLst>
                            <p:childTnLst>
                              <p:par>
                                <p:cTn id="10" presetID="2" presetClass="entr" presetSubtype="4" fill="hold" nodeType="afterEffect">
                                  <p:stCondLst>
                                    <p:cond delay="30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300" fill="hold"/>
                                        <p:tgtEl>
                                          <p:spTgt spid="3"/>
                                        </p:tgtEl>
                                        <p:attrNameLst>
                                          <p:attrName>ppt_x</p:attrName>
                                        </p:attrNameLst>
                                      </p:cBhvr>
                                      <p:tavLst>
                                        <p:tav tm="0">
                                          <p:val>
                                            <p:strVal val="#ppt_x"/>
                                          </p:val>
                                        </p:tav>
                                        <p:tav tm="100000">
                                          <p:val>
                                            <p:strVal val="#ppt_x"/>
                                          </p:val>
                                        </p:tav>
                                      </p:tavLst>
                                    </p:anim>
                                    <p:anim calcmode="lin" valueType="num">
                                      <p:cBhvr additive="base">
                                        <p:cTn id="13" dur="3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1200"/>
                            </p:stCondLst>
                            <p:childTnLst>
                              <p:par>
                                <p:cTn id="15" presetID="2" presetClass="entr" presetSubtype="4" fill="hold" nodeType="afterEffect">
                                  <p:stCondLst>
                                    <p:cond delay="30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300" fill="hold"/>
                                        <p:tgtEl>
                                          <p:spTgt spid="4"/>
                                        </p:tgtEl>
                                        <p:attrNameLst>
                                          <p:attrName>ppt_x</p:attrName>
                                        </p:attrNameLst>
                                      </p:cBhvr>
                                      <p:tavLst>
                                        <p:tav tm="0">
                                          <p:val>
                                            <p:strVal val="#ppt_x"/>
                                          </p:val>
                                        </p:tav>
                                        <p:tav tm="100000">
                                          <p:val>
                                            <p:strVal val="#ppt_x"/>
                                          </p:val>
                                        </p:tav>
                                      </p:tavLst>
                                    </p:anim>
                                    <p:anim calcmode="lin" valueType="num">
                                      <p:cBhvr additive="base">
                                        <p:cTn id="18" dur="3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1800"/>
                            </p:stCondLst>
                            <p:childTnLst>
                              <p:par>
                                <p:cTn id="20" presetID="2" presetClass="entr" presetSubtype="4" fill="hold" nodeType="afterEffect">
                                  <p:stCondLst>
                                    <p:cond delay="300"/>
                                  </p:stCondLst>
                                  <p:childTnLst>
                                    <p:set>
                                      <p:cBhvr>
                                        <p:cTn id="21" dur="1" fill="hold">
                                          <p:stCondLst>
                                            <p:cond delay="0"/>
                                          </p:stCondLst>
                                        </p:cTn>
                                        <p:tgtEl>
                                          <p:spTgt spid="5"/>
                                        </p:tgtEl>
                                        <p:attrNameLst>
                                          <p:attrName>style.visibility</p:attrName>
                                        </p:attrNameLst>
                                      </p:cBhvr>
                                      <p:to>
                                        <p:strVal val="visible"/>
                                      </p:to>
                                    </p:set>
                                    <p:anim calcmode="lin" valueType="num">
                                      <p:cBhvr additive="base">
                                        <p:cTn id="22" dur="300" fill="hold"/>
                                        <p:tgtEl>
                                          <p:spTgt spid="5"/>
                                        </p:tgtEl>
                                        <p:attrNameLst>
                                          <p:attrName>ppt_x</p:attrName>
                                        </p:attrNameLst>
                                      </p:cBhvr>
                                      <p:tavLst>
                                        <p:tav tm="0">
                                          <p:val>
                                            <p:strVal val="#ppt_x"/>
                                          </p:val>
                                        </p:tav>
                                        <p:tav tm="100000">
                                          <p:val>
                                            <p:strVal val="#ppt_x"/>
                                          </p:val>
                                        </p:tav>
                                      </p:tavLst>
                                    </p:anim>
                                    <p:anim calcmode="lin" valueType="num">
                                      <p:cBhvr additive="base">
                                        <p:cTn id="23" dur="300" fill="hold"/>
                                        <p:tgtEl>
                                          <p:spTgt spid="5"/>
                                        </p:tgtEl>
                                        <p:attrNameLst>
                                          <p:attrName>ppt_y</p:attrName>
                                        </p:attrNameLst>
                                      </p:cBhvr>
                                      <p:tavLst>
                                        <p:tav tm="0">
                                          <p:val>
                                            <p:strVal val="1+#ppt_h/2"/>
                                          </p:val>
                                        </p:tav>
                                        <p:tav tm="100000">
                                          <p:val>
                                            <p:strVal val="#ppt_y"/>
                                          </p:val>
                                        </p:tav>
                                      </p:tavLst>
                                    </p:anim>
                                  </p:childTnLst>
                                </p:cTn>
                              </p:par>
                            </p:childTnLst>
                          </p:cTn>
                        </p:par>
                        <p:par>
                          <p:cTn id="24" fill="hold">
                            <p:stCondLst>
                              <p:cond delay="2400"/>
                            </p:stCondLst>
                            <p:childTnLst>
                              <p:par>
                                <p:cTn id="25" presetID="2" presetClass="entr" presetSubtype="4" fill="hold" nodeType="afterEffect">
                                  <p:stCondLst>
                                    <p:cond delay="300"/>
                                  </p:stCondLst>
                                  <p:childTnLst>
                                    <p:set>
                                      <p:cBhvr>
                                        <p:cTn id="26" dur="1" fill="hold">
                                          <p:stCondLst>
                                            <p:cond delay="0"/>
                                          </p:stCondLst>
                                        </p:cTn>
                                        <p:tgtEl>
                                          <p:spTgt spid="49"/>
                                        </p:tgtEl>
                                        <p:attrNameLst>
                                          <p:attrName>style.visibility</p:attrName>
                                        </p:attrNameLst>
                                      </p:cBhvr>
                                      <p:to>
                                        <p:strVal val="visible"/>
                                      </p:to>
                                    </p:set>
                                    <p:anim calcmode="lin" valueType="num">
                                      <p:cBhvr additive="base">
                                        <p:cTn id="27" dur="300" fill="hold"/>
                                        <p:tgtEl>
                                          <p:spTgt spid="49"/>
                                        </p:tgtEl>
                                        <p:attrNameLst>
                                          <p:attrName>ppt_x</p:attrName>
                                        </p:attrNameLst>
                                      </p:cBhvr>
                                      <p:tavLst>
                                        <p:tav tm="0">
                                          <p:val>
                                            <p:strVal val="#ppt_x"/>
                                          </p:val>
                                        </p:tav>
                                        <p:tav tm="100000">
                                          <p:val>
                                            <p:strVal val="#ppt_x"/>
                                          </p:val>
                                        </p:tav>
                                      </p:tavLst>
                                    </p:anim>
                                    <p:anim calcmode="lin" valueType="num">
                                      <p:cBhvr additive="base">
                                        <p:cTn id="28" dur="300" fill="hold"/>
                                        <p:tgtEl>
                                          <p:spTgt spid="4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0E223F0-57A9-4EAC-9AED-24FA97CDCA4E}"/>
              </a:ext>
            </a:extLst>
          </p:cNvPr>
          <p:cNvSpPr/>
          <p:nvPr/>
        </p:nvSpPr>
        <p:spPr>
          <a:xfrm>
            <a:off x="6994280" y="4135495"/>
            <a:ext cx="2086109" cy="942455"/>
          </a:xfrm>
          <a:prstGeom prst="rect">
            <a:avLst/>
          </a:prstGeom>
          <a:solidFill>
            <a:srgbClr val="EAE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solidFill>
                <a:srgbClr val="B00402"/>
              </a:solidFill>
            </a:endParaRPr>
          </a:p>
        </p:txBody>
      </p:sp>
      <p:sp>
        <p:nvSpPr>
          <p:cNvPr id="61" name="TextBox 60">
            <a:extLst>
              <a:ext uri="{FF2B5EF4-FFF2-40B4-BE49-F238E27FC236}">
                <a16:creationId xmlns:a16="http://schemas.microsoft.com/office/drawing/2014/main" id="{C6D2EB95-8E83-A77E-E78E-DA5C56F8F946}"/>
              </a:ext>
            </a:extLst>
          </p:cNvPr>
          <p:cNvSpPr txBox="1"/>
          <p:nvPr/>
        </p:nvSpPr>
        <p:spPr>
          <a:xfrm>
            <a:off x="6964686" y="4090372"/>
            <a:ext cx="2197907" cy="102810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nSpc>
                <a:spcPct val="150000"/>
              </a:lnSpc>
            </a:pPr>
            <a:r>
              <a:rPr lang="en-US" sz="1000">
                <a:solidFill>
                  <a:srgbClr val="B00402"/>
                </a:solidFill>
                <a:latin typeface="EON Brix Sans Medium" panose="020B0600000000000000" pitchFamily="34" charset="-18"/>
              </a:rPr>
              <a:t>~20</a:t>
            </a:r>
            <a:r>
              <a:rPr lang="en-DE" sz="1000">
                <a:solidFill>
                  <a:srgbClr val="B00402"/>
                </a:solidFill>
                <a:latin typeface="EON Brix Sans Medium" panose="020B0600000000000000" pitchFamily="34" charset="-18"/>
              </a:rPr>
              <a:t> people</a:t>
            </a:r>
            <a:r>
              <a:rPr lang="en-US" sz="1000">
                <a:solidFill>
                  <a:srgbClr val="B00402"/>
                </a:solidFill>
                <a:latin typeface="EON Brix Sans Medium" panose="020B0600000000000000" pitchFamily="34" charset="-18"/>
              </a:rPr>
              <a:t> (Core DG&amp;DM team)</a:t>
            </a:r>
            <a:r>
              <a:rPr lang="en-DE" sz="1000">
                <a:solidFill>
                  <a:srgbClr val="B00402"/>
                </a:solidFill>
                <a:latin typeface="EON Brix Sans Medium" panose="020B0600000000000000" pitchFamily="34" charset="-18"/>
              </a:rPr>
              <a:t>, </a:t>
            </a:r>
          </a:p>
          <a:p>
            <a:pPr>
              <a:lnSpc>
                <a:spcPct val="150000"/>
              </a:lnSpc>
            </a:pPr>
            <a:r>
              <a:rPr lang="en-DE" sz="1000">
                <a:solidFill>
                  <a:srgbClr val="B00402"/>
                </a:solidFill>
                <a:latin typeface="EON Brix Sans Medium" panose="020B0600000000000000" pitchFamily="34" charset="-18"/>
              </a:rPr>
              <a:t>15+ businesses, </a:t>
            </a:r>
          </a:p>
          <a:p>
            <a:pPr>
              <a:lnSpc>
                <a:spcPct val="150000"/>
              </a:lnSpc>
            </a:pPr>
            <a:r>
              <a:rPr lang="en-DE" sz="1000">
                <a:solidFill>
                  <a:srgbClr val="B00402"/>
                </a:solidFill>
                <a:latin typeface="EON Brix Sans Medium" panose="020B0600000000000000" pitchFamily="34" charset="-18"/>
              </a:rPr>
              <a:t>4 technologies</a:t>
            </a:r>
            <a:endParaRPr lang="en-US" sz="1000">
              <a:solidFill>
                <a:srgbClr val="B00402"/>
              </a:solidFill>
              <a:latin typeface="EON Brix Sans Medium" panose="020B0600000000000000" pitchFamily="34" charset="-18"/>
            </a:endParaRPr>
          </a:p>
          <a:p>
            <a:pPr>
              <a:lnSpc>
                <a:spcPct val="150000"/>
              </a:lnSpc>
            </a:pPr>
            <a:r>
              <a:rPr lang="en-US" sz="1200" b="1">
                <a:solidFill>
                  <a:srgbClr val="B00402"/>
                </a:solidFill>
                <a:latin typeface="EON Brix Sans Medium" panose="020B0600000000000000" pitchFamily="34" charset="-18"/>
              </a:rPr>
              <a:t>500+</a:t>
            </a:r>
            <a:r>
              <a:rPr lang="en-US" sz="1000">
                <a:solidFill>
                  <a:srgbClr val="B00402"/>
                </a:solidFill>
                <a:latin typeface="EON Brix Sans Medium" panose="020B0600000000000000" pitchFamily="34" charset="-18"/>
              </a:rPr>
              <a:t> Erwin DIS &amp; DM Platform users</a:t>
            </a:r>
            <a:endParaRPr lang="en-DE" sz="1000">
              <a:solidFill>
                <a:srgbClr val="B00402"/>
              </a:solidFill>
              <a:latin typeface="EON Brix Sans Medium" panose="020B0600000000000000" pitchFamily="34" charset="-18"/>
            </a:endParaRPr>
          </a:p>
        </p:txBody>
      </p:sp>
      <p:sp>
        <p:nvSpPr>
          <p:cNvPr id="107" name="Richtungspfeil 5">
            <a:extLst>
              <a:ext uri="{FF2B5EF4-FFF2-40B4-BE49-F238E27FC236}">
                <a16:creationId xmlns:a16="http://schemas.microsoft.com/office/drawing/2014/main" id="{81A79406-3A9A-17F9-A235-D3DC267403CE}"/>
              </a:ext>
            </a:extLst>
          </p:cNvPr>
          <p:cNvSpPr/>
          <p:nvPr/>
        </p:nvSpPr>
        <p:spPr>
          <a:xfrm>
            <a:off x="7890822" y="3469444"/>
            <a:ext cx="1087367" cy="591286"/>
          </a:xfrm>
          <a:prstGeom prst="homePlate">
            <a:avLst>
              <a:gd name="adj" fmla="val 13341"/>
            </a:avLst>
          </a:prstGeom>
          <a:solidFill>
            <a:srgbClr val="85D1D8"/>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err="1">
                <a:solidFill>
                  <a:prstClr val="white"/>
                </a:solidFill>
                <a:latin typeface="EON Brix Sans Black"/>
              </a:rPr>
              <a:t>Mngt</a:t>
            </a:r>
            <a:r>
              <a:rPr lang="fr-FR" sz="800">
                <a:solidFill>
                  <a:prstClr val="white"/>
                </a:solidFill>
                <a:latin typeface="EON Brix Sans Black"/>
              </a:rPr>
              <a:t> </a:t>
            </a:r>
            <a:r>
              <a:rPr lang="fr-FR" sz="800" err="1">
                <a:solidFill>
                  <a:prstClr val="white"/>
                </a:solidFill>
                <a:latin typeface="EON Brix Sans Black"/>
              </a:rPr>
              <a:t>Unstructured</a:t>
            </a:r>
            <a:r>
              <a:rPr lang="fr-FR" sz="800">
                <a:solidFill>
                  <a:prstClr val="white"/>
                </a:solidFill>
                <a:latin typeface="EON Brix Sans Black"/>
              </a:rPr>
              <a:t> Data</a:t>
            </a:r>
          </a:p>
        </p:txBody>
      </p:sp>
      <p:sp>
        <p:nvSpPr>
          <p:cNvPr id="106" name="Richtungspfeil 9">
            <a:extLst>
              <a:ext uri="{FF2B5EF4-FFF2-40B4-BE49-F238E27FC236}">
                <a16:creationId xmlns:a16="http://schemas.microsoft.com/office/drawing/2014/main" id="{45B4660F-7DA8-6C39-7B8B-9E82751EA0D6}"/>
              </a:ext>
            </a:extLst>
          </p:cNvPr>
          <p:cNvSpPr/>
          <p:nvPr/>
        </p:nvSpPr>
        <p:spPr>
          <a:xfrm>
            <a:off x="7325164" y="1253075"/>
            <a:ext cx="1328118" cy="560588"/>
          </a:xfrm>
          <a:prstGeom prst="homePlate">
            <a:avLst>
              <a:gd name="adj" fmla="val 17295"/>
            </a:avLst>
          </a:prstGeom>
          <a:solidFill>
            <a:srgbClr val="C44341"/>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prstClr val="white"/>
                </a:solidFill>
                <a:latin typeface="EON Brix Sans Black"/>
              </a:rPr>
              <a:t>Value </a:t>
            </a:r>
            <a:r>
              <a:rPr lang="fr-FR" sz="900" err="1">
                <a:solidFill>
                  <a:prstClr val="white"/>
                </a:solidFill>
                <a:latin typeface="EON Brix Sans Black"/>
              </a:rPr>
              <a:t>assessment</a:t>
            </a:r>
            <a:r>
              <a:rPr lang="fr-FR" sz="900">
                <a:solidFill>
                  <a:prstClr val="white"/>
                </a:solidFill>
                <a:latin typeface="EON Brix Sans Black"/>
              </a:rPr>
              <a:t> </a:t>
            </a:r>
            <a:r>
              <a:rPr lang="fr-FR" sz="900" err="1">
                <a:solidFill>
                  <a:prstClr val="white"/>
                </a:solidFill>
                <a:latin typeface="EON Brix Sans Black"/>
              </a:rPr>
              <a:t>approach</a:t>
            </a:r>
            <a:endParaRPr lang="fr-FR" sz="900">
              <a:solidFill>
                <a:prstClr val="white"/>
              </a:solidFill>
              <a:latin typeface="EON Brix Sans Black"/>
            </a:endParaRPr>
          </a:p>
        </p:txBody>
      </p:sp>
      <p:sp>
        <p:nvSpPr>
          <p:cNvPr id="42" name="Richtungspfeil 5">
            <a:extLst>
              <a:ext uri="{FF2B5EF4-FFF2-40B4-BE49-F238E27FC236}">
                <a16:creationId xmlns:a16="http://schemas.microsoft.com/office/drawing/2014/main" id="{5D20A12A-5C27-CBC8-A929-3E5B4B8C1739}"/>
              </a:ext>
            </a:extLst>
          </p:cNvPr>
          <p:cNvSpPr/>
          <p:nvPr/>
        </p:nvSpPr>
        <p:spPr>
          <a:xfrm>
            <a:off x="6763751" y="3469446"/>
            <a:ext cx="1328118" cy="591286"/>
          </a:xfrm>
          <a:prstGeom prst="homePlate">
            <a:avLst>
              <a:gd name="adj" fmla="val 1334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Data </a:t>
            </a:r>
            <a:r>
              <a:rPr lang="fr-FR" sz="800" err="1">
                <a:solidFill>
                  <a:prstClr val="white"/>
                </a:solidFill>
                <a:latin typeface="EON Brix Sans Black"/>
              </a:rPr>
              <a:t>Ownership</a:t>
            </a:r>
            <a:r>
              <a:rPr lang="fr-FR" sz="800">
                <a:solidFill>
                  <a:prstClr val="white"/>
                </a:solidFill>
                <a:latin typeface="EON Brix Sans Black"/>
              </a:rPr>
              <a:t> as part of Group Policy</a:t>
            </a:r>
          </a:p>
        </p:txBody>
      </p:sp>
      <p:sp>
        <p:nvSpPr>
          <p:cNvPr id="20" name="Richtungspfeil 5">
            <a:extLst>
              <a:ext uri="{FF2B5EF4-FFF2-40B4-BE49-F238E27FC236}">
                <a16:creationId xmlns:a16="http://schemas.microsoft.com/office/drawing/2014/main" id="{3AA16958-DD25-6B95-DC9E-A2C72076BAD7}"/>
              </a:ext>
            </a:extLst>
          </p:cNvPr>
          <p:cNvSpPr/>
          <p:nvPr/>
        </p:nvSpPr>
        <p:spPr>
          <a:xfrm>
            <a:off x="5906914" y="3469446"/>
            <a:ext cx="1087367" cy="591286"/>
          </a:xfrm>
          <a:prstGeom prst="homePlate">
            <a:avLst>
              <a:gd name="adj" fmla="val 133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EON Data House</a:t>
            </a:r>
          </a:p>
        </p:txBody>
      </p:sp>
      <p:sp>
        <p:nvSpPr>
          <p:cNvPr id="18" name="Richtungspfeil 5">
            <a:extLst>
              <a:ext uri="{FF2B5EF4-FFF2-40B4-BE49-F238E27FC236}">
                <a16:creationId xmlns:a16="http://schemas.microsoft.com/office/drawing/2014/main" id="{2B487FBB-7E00-6C89-5B5E-43506A2FBD1E}"/>
              </a:ext>
            </a:extLst>
          </p:cNvPr>
          <p:cNvSpPr/>
          <p:nvPr/>
        </p:nvSpPr>
        <p:spPr>
          <a:xfrm>
            <a:off x="5018117" y="3469446"/>
            <a:ext cx="1087367" cy="591286"/>
          </a:xfrm>
          <a:prstGeom prst="homePlate">
            <a:avLst>
              <a:gd name="adj" fmla="val 1334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Concept &amp; Tool for Data Quality</a:t>
            </a:r>
          </a:p>
        </p:txBody>
      </p:sp>
      <p:sp>
        <p:nvSpPr>
          <p:cNvPr id="17" name="Richtungspfeil 5">
            <a:extLst>
              <a:ext uri="{FF2B5EF4-FFF2-40B4-BE49-F238E27FC236}">
                <a16:creationId xmlns:a16="http://schemas.microsoft.com/office/drawing/2014/main" id="{2858ADF0-ED08-5284-06B0-6D34EEC25EA4}"/>
              </a:ext>
            </a:extLst>
          </p:cNvPr>
          <p:cNvSpPr/>
          <p:nvPr/>
        </p:nvSpPr>
        <p:spPr>
          <a:xfrm>
            <a:off x="4057913" y="3469446"/>
            <a:ext cx="1087367" cy="591286"/>
          </a:xfrm>
          <a:prstGeom prst="homePlate">
            <a:avLst>
              <a:gd name="adj" fmla="val 133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srgbClr val="FF0000"/>
                </a:solidFill>
                <a:latin typeface="EON Brix Sans Black"/>
              </a:rPr>
              <a:t>Concept for Data Modeling</a:t>
            </a:r>
          </a:p>
        </p:txBody>
      </p:sp>
      <p:sp>
        <p:nvSpPr>
          <p:cNvPr id="39" name="Richtungspfeil 5">
            <a:extLst>
              <a:ext uri="{FF2B5EF4-FFF2-40B4-BE49-F238E27FC236}">
                <a16:creationId xmlns:a16="http://schemas.microsoft.com/office/drawing/2014/main" id="{5B8FB1CB-DE8D-C211-F06D-AAFAF9151ADF}"/>
              </a:ext>
            </a:extLst>
          </p:cNvPr>
          <p:cNvSpPr/>
          <p:nvPr/>
        </p:nvSpPr>
        <p:spPr>
          <a:xfrm>
            <a:off x="3128469" y="3477964"/>
            <a:ext cx="1087367" cy="591286"/>
          </a:xfrm>
          <a:prstGeom prst="homePlate">
            <a:avLst>
              <a:gd name="adj" fmla="val 133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External DM Round Table</a:t>
            </a:r>
          </a:p>
        </p:txBody>
      </p:sp>
      <p:sp>
        <p:nvSpPr>
          <p:cNvPr id="16" name="Richtungspfeil 5">
            <a:extLst>
              <a:ext uri="{FF2B5EF4-FFF2-40B4-BE49-F238E27FC236}">
                <a16:creationId xmlns:a16="http://schemas.microsoft.com/office/drawing/2014/main" id="{B02CFB14-DD68-E06C-A692-7682869FF40D}"/>
              </a:ext>
            </a:extLst>
          </p:cNvPr>
          <p:cNvSpPr/>
          <p:nvPr/>
        </p:nvSpPr>
        <p:spPr>
          <a:xfrm>
            <a:off x="2187967" y="3477964"/>
            <a:ext cx="1087367" cy="591286"/>
          </a:xfrm>
          <a:prstGeom prst="homePlate">
            <a:avLst>
              <a:gd name="adj" fmla="val 13341"/>
            </a:avLst>
          </a:prstGeom>
          <a:solidFill>
            <a:srgbClr val="85D1D8"/>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Rolled out MeDM platform</a:t>
            </a:r>
          </a:p>
        </p:txBody>
      </p:sp>
      <p:sp>
        <p:nvSpPr>
          <p:cNvPr id="14" name="Richtungspfeil 5">
            <a:extLst>
              <a:ext uri="{FF2B5EF4-FFF2-40B4-BE49-F238E27FC236}">
                <a16:creationId xmlns:a16="http://schemas.microsoft.com/office/drawing/2014/main" id="{D56FC791-0B09-66F1-87BA-1F7595BAE1EF}"/>
              </a:ext>
            </a:extLst>
          </p:cNvPr>
          <p:cNvSpPr/>
          <p:nvPr/>
        </p:nvSpPr>
        <p:spPr>
          <a:xfrm>
            <a:off x="1434190" y="3479781"/>
            <a:ext cx="957025" cy="591286"/>
          </a:xfrm>
          <a:prstGeom prst="homePlate">
            <a:avLst>
              <a:gd name="adj" fmla="val 1334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a:solidFill>
                  <a:prstClr val="white"/>
                </a:solidFill>
                <a:latin typeface="EON Brix Sans Black"/>
              </a:rPr>
              <a:t>KPI </a:t>
            </a:r>
            <a:r>
              <a:rPr lang="fr-FR" sz="800" err="1">
                <a:solidFill>
                  <a:prstClr val="white"/>
                </a:solidFill>
                <a:latin typeface="EON Brix Sans Black"/>
              </a:rPr>
              <a:t>tracking</a:t>
            </a:r>
            <a:r>
              <a:rPr lang="fr-FR" sz="800">
                <a:solidFill>
                  <a:prstClr val="white"/>
                </a:solidFill>
                <a:latin typeface="EON Brix Sans Black"/>
              </a:rPr>
              <a:t> </a:t>
            </a:r>
            <a:r>
              <a:rPr lang="fr-FR" sz="800" err="1">
                <a:solidFill>
                  <a:prstClr val="white"/>
                </a:solidFill>
                <a:latin typeface="EON Brix Sans Black"/>
              </a:rPr>
              <a:t>with</a:t>
            </a:r>
            <a:r>
              <a:rPr lang="fr-FR" sz="800">
                <a:solidFill>
                  <a:prstClr val="white"/>
                </a:solidFill>
                <a:latin typeface="EON Brix Sans Black"/>
              </a:rPr>
              <a:t> </a:t>
            </a:r>
            <a:r>
              <a:rPr lang="fr-FR" sz="800" err="1">
                <a:solidFill>
                  <a:prstClr val="white"/>
                </a:solidFill>
                <a:latin typeface="EON Brix Sans Black"/>
              </a:rPr>
              <a:t>PowerBI</a:t>
            </a:r>
            <a:endParaRPr lang="fr-FR" sz="800">
              <a:solidFill>
                <a:prstClr val="white"/>
              </a:solidFill>
              <a:latin typeface="EON Brix Sans Black"/>
            </a:endParaRPr>
          </a:p>
        </p:txBody>
      </p:sp>
      <p:sp>
        <p:nvSpPr>
          <p:cNvPr id="5" name="Richtungspfeil 5">
            <a:extLst>
              <a:ext uri="{FF2B5EF4-FFF2-40B4-BE49-F238E27FC236}">
                <a16:creationId xmlns:a16="http://schemas.microsoft.com/office/drawing/2014/main" id="{B93EDA20-3768-C6C3-E196-94209FCD4D0A}"/>
              </a:ext>
            </a:extLst>
          </p:cNvPr>
          <p:cNvSpPr/>
          <p:nvPr/>
        </p:nvSpPr>
        <p:spPr>
          <a:xfrm>
            <a:off x="5982890" y="1255473"/>
            <a:ext cx="1515188" cy="560588"/>
          </a:xfrm>
          <a:prstGeom prst="homePlate">
            <a:avLst>
              <a:gd name="adj" fmla="val 133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err="1">
                <a:solidFill>
                  <a:prstClr val="white"/>
                </a:solidFill>
                <a:latin typeface="EON Brix Sans Black"/>
              </a:rPr>
              <a:t>Establishing</a:t>
            </a:r>
            <a:r>
              <a:rPr lang="fr-FR" sz="900">
                <a:solidFill>
                  <a:prstClr val="white"/>
                </a:solidFill>
                <a:latin typeface="EON Brix Sans Black"/>
              </a:rPr>
              <a:t> </a:t>
            </a:r>
            <a:r>
              <a:rPr lang="fr-FR" sz="900" err="1">
                <a:solidFill>
                  <a:prstClr val="white"/>
                </a:solidFill>
                <a:latin typeface="EON Brix Sans Black"/>
              </a:rPr>
              <a:t>own</a:t>
            </a:r>
            <a:r>
              <a:rPr lang="fr-FR" sz="900">
                <a:solidFill>
                  <a:prstClr val="white"/>
                </a:solidFill>
                <a:latin typeface="EON Brix Sans Black"/>
              </a:rPr>
              <a:t> </a:t>
            </a:r>
            <a:r>
              <a:rPr lang="fr-FR" sz="900" err="1">
                <a:solidFill>
                  <a:prstClr val="white"/>
                </a:solidFill>
                <a:latin typeface="EON Brix Sans Black"/>
              </a:rPr>
              <a:t>Maturity</a:t>
            </a:r>
            <a:r>
              <a:rPr lang="fr-FR" sz="900">
                <a:solidFill>
                  <a:prstClr val="white"/>
                </a:solidFill>
                <a:latin typeface="EON Brix Sans Black"/>
              </a:rPr>
              <a:t> Model </a:t>
            </a:r>
            <a:r>
              <a:rPr lang="fr-FR" sz="900" err="1">
                <a:solidFill>
                  <a:prstClr val="white"/>
                </a:solidFill>
                <a:latin typeface="EON Brix Sans Black"/>
              </a:rPr>
              <a:t>Approach</a:t>
            </a:r>
            <a:endParaRPr lang="fr-FR" sz="900">
              <a:solidFill>
                <a:prstClr val="white"/>
              </a:solidFill>
              <a:latin typeface="EON Brix Sans Black"/>
            </a:endParaRPr>
          </a:p>
        </p:txBody>
      </p:sp>
      <p:sp>
        <p:nvSpPr>
          <p:cNvPr id="13" name="Richtungspfeil 12"/>
          <p:cNvSpPr/>
          <p:nvPr/>
        </p:nvSpPr>
        <p:spPr>
          <a:xfrm>
            <a:off x="5032190" y="1257144"/>
            <a:ext cx="1099985" cy="560588"/>
          </a:xfrm>
          <a:prstGeom prst="homePlate">
            <a:avLst>
              <a:gd name="adj" fmla="val 1149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srgbClr val="FF0000"/>
                </a:solidFill>
                <a:latin typeface="EON Brix Sans Black"/>
              </a:rPr>
              <a:t>1st DM </a:t>
            </a:r>
            <a:r>
              <a:rPr lang="fr-FR" sz="900" err="1">
                <a:solidFill>
                  <a:srgbClr val="FF0000"/>
                </a:solidFill>
                <a:latin typeface="EON Brix Sans Black"/>
              </a:rPr>
              <a:t>annual</a:t>
            </a:r>
            <a:r>
              <a:rPr lang="fr-FR" sz="900">
                <a:solidFill>
                  <a:srgbClr val="FF0000"/>
                </a:solidFill>
                <a:latin typeface="EON Brix Sans Black"/>
              </a:rPr>
              <a:t> Event</a:t>
            </a:r>
          </a:p>
        </p:txBody>
      </p:sp>
      <p:sp>
        <p:nvSpPr>
          <p:cNvPr id="12" name="Richtungspfeil 11"/>
          <p:cNvSpPr/>
          <p:nvPr/>
        </p:nvSpPr>
        <p:spPr>
          <a:xfrm>
            <a:off x="3877935" y="1255473"/>
            <a:ext cx="1294801" cy="560588"/>
          </a:xfrm>
          <a:prstGeom prst="homePlate">
            <a:avLst>
              <a:gd name="adj" fmla="val 11496"/>
            </a:avLst>
          </a:prstGeom>
          <a:solidFill>
            <a:srgbClr val="85D1D8"/>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prstClr val="white"/>
                </a:solidFill>
                <a:latin typeface="EON Brix Sans Black"/>
              </a:rPr>
              <a:t>GDPR </a:t>
            </a:r>
            <a:r>
              <a:rPr lang="fr-FR" sz="900" err="1">
                <a:solidFill>
                  <a:prstClr val="white"/>
                </a:solidFill>
                <a:latin typeface="EON Brix Sans Black"/>
              </a:rPr>
              <a:t>operationalization</a:t>
            </a:r>
            <a:endParaRPr lang="fr-FR" sz="900">
              <a:solidFill>
                <a:prstClr val="white"/>
              </a:solidFill>
              <a:latin typeface="EON Brix Sans Black"/>
            </a:endParaRPr>
          </a:p>
        </p:txBody>
      </p:sp>
      <p:sp>
        <p:nvSpPr>
          <p:cNvPr id="11" name="Richtungspfeil 10"/>
          <p:cNvSpPr/>
          <p:nvPr/>
        </p:nvSpPr>
        <p:spPr>
          <a:xfrm>
            <a:off x="2765989" y="1258037"/>
            <a:ext cx="1294801" cy="560588"/>
          </a:xfrm>
          <a:prstGeom prst="homePlate">
            <a:avLst>
              <a:gd name="adj" fmla="val 1149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prstClr val="white"/>
                </a:solidFill>
                <a:latin typeface="EON Brix Sans Black"/>
              </a:rPr>
              <a:t>1st </a:t>
            </a:r>
            <a:r>
              <a:rPr lang="fr-FR" sz="900" err="1">
                <a:solidFill>
                  <a:prstClr val="white"/>
                </a:solidFill>
                <a:latin typeface="EON Brix Sans Black"/>
              </a:rPr>
              <a:t>onboarded</a:t>
            </a:r>
            <a:r>
              <a:rPr lang="fr-FR" sz="900">
                <a:solidFill>
                  <a:prstClr val="white"/>
                </a:solidFill>
                <a:latin typeface="EON Brix Sans Black"/>
              </a:rPr>
              <a:t> pilot </a:t>
            </a:r>
            <a:r>
              <a:rPr lang="fr-FR" sz="900" err="1">
                <a:solidFill>
                  <a:prstClr val="white"/>
                </a:solidFill>
                <a:latin typeface="EON Brix Sans Black"/>
              </a:rPr>
              <a:t>units</a:t>
            </a:r>
            <a:endParaRPr lang="fr-FR" sz="900">
              <a:solidFill>
                <a:prstClr val="white"/>
              </a:solidFill>
              <a:latin typeface="EON Brix Sans Black"/>
            </a:endParaRPr>
          </a:p>
        </p:txBody>
      </p:sp>
      <p:sp>
        <p:nvSpPr>
          <p:cNvPr id="10" name="Richtungspfeil 9"/>
          <p:cNvSpPr/>
          <p:nvPr/>
        </p:nvSpPr>
        <p:spPr>
          <a:xfrm>
            <a:off x="1983709" y="1257289"/>
            <a:ext cx="983267" cy="560588"/>
          </a:xfrm>
          <a:prstGeom prst="homePlate">
            <a:avLst>
              <a:gd name="adj" fmla="val 17295"/>
            </a:avLst>
          </a:prstGeom>
          <a:solidFill>
            <a:srgbClr val="C44341"/>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prstClr val="white"/>
                </a:solidFill>
                <a:latin typeface="EON Brix Sans Black"/>
              </a:rPr>
              <a:t>Business </a:t>
            </a:r>
          </a:p>
          <a:p>
            <a:r>
              <a:rPr lang="fr-FR" sz="900">
                <a:solidFill>
                  <a:prstClr val="white"/>
                </a:solidFill>
                <a:latin typeface="EON Brix Sans Black"/>
              </a:rPr>
              <a:t>Case</a:t>
            </a:r>
          </a:p>
        </p:txBody>
      </p:sp>
      <p:sp>
        <p:nvSpPr>
          <p:cNvPr id="9" name="Richtungspfeil 8"/>
          <p:cNvSpPr/>
          <p:nvPr/>
        </p:nvSpPr>
        <p:spPr>
          <a:xfrm>
            <a:off x="1176740" y="1257290"/>
            <a:ext cx="983276" cy="560588"/>
          </a:xfrm>
          <a:prstGeom prst="homePlate">
            <a:avLst>
              <a:gd name="adj" fmla="val 1176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900">
                <a:solidFill>
                  <a:prstClr val="white"/>
                </a:solidFill>
                <a:latin typeface="EON Brix Sans Black"/>
              </a:rPr>
              <a:t>Tool </a:t>
            </a:r>
            <a:r>
              <a:rPr lang="fr-FR" sz="900" err="1">
                <a:solidFill>
                  <a:prstClr val="white"/>
                </a:solidFill>
                <a:latin typeface="EON Brix Sans Black"/>
              </a:rPr>
              <a:t>Selection</a:t>
            </a:r>
            <a:endParaRPr lang="fr-FR" sz="900">
              <a:solidFill>
                <a:prstClr val="white"/>
              </a:solidFill>
              <a:latin typeface="EON Brix Sans Black"/>
            </a:endParaRPr>
          </a:p>
        </p:txBody>
      </p:sp>
      <p:sp>
        <p:nvSpPr>
          <p:cNvPr id="2" name="Titel 1"/>
          <p:cNvSpPr>
            <a:spLocks noGrp="1"/>
          </p:cNvSpPr>
          <p:nvPr>
            <p:ph type="title"/>
          </p:nvPr>
        </p:nvSpPr>
        <p:spPr>
          <a:xfrm>
            <a:off x="73557" y="84984"/>
            <a:ext cx="5508625" cy="719334"/>
          </a:xfrm>
        </p:spPr>
        <p:txBody>
          <a:bodyPr/>
          <a:lstStyle/>
          <a:p>
            <a:pPr algn="l"/>
            <a:r>
              <a:rPr lang="fr-FR"/>
              <a:t>Our development phases</a:t>
            </a:r>
          </a:p>
        </p:txBody>
      </p:sp>
      <p:sp>
        <p:nvSpPr>
          <p:cNvPr id="6" name="Richtungspfeil 5"/>
          <p:cNvSpPr/>
          <p:nvPr/>
        </p:nvSpPr>
        <p:spPr>
          <a:xfrm>
            <a:off x="317727" y="1257290"/>
            <a:ext cx="1007068" cy="560588"/>
          </a:xfrm>
          <a:prstGeom prst="homePlate">
            <a:avLst>
              <a:gd name="adj" fmla="val 1334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1933" tIns="0" rIns="71933" bIns="0" rtlCol="0" anchor="ctr"/>
          <a:lstStyle/>
          <a:p>
            <a:r>
              <a:rPr lang="fr-FR" sz="900">
                <a:solidFill>
                  <a:prstClr val="white"/>
                </a:solidFill>
                <a:latin typeface="EON Brix Sans Black"/>
              </a:rPr>
              <a:t>Program </a:t>
            </a:r>
          </a:p>
          <a:p>
            <a:r>
              <a:rPr lang="fr-FR" sz="900" err="1">
                <a:solidFill>
                  <a:prstClr val="white"/>
                </a:solidFill>
                <a:latin typeface="EON Brix Sans Black"/>
              </a:rPr>
              <a:t>Set-Up</a:t>
            </a:r>
            <a:endParaRPr lang="fr-FR" sz="900">
              <a:solidFill>
                <a:prstClr val="white"/>
              </a:solidFill>
              <a:latin typeface="EON Brix Sans Black"/>
            </a:endParaRPr>
          </a:p>
        </p:txBody>
      </p:sp>
      <p:sp>
        <p:nvSpPr>
          <p:cNvPr id="27" name="Textfeld 26"/>
          <p:cNvSpPr txBox="1"/>
          <p:nvPr/>
        </p:nvSpPr>
        <p:spPr>
          <a:xfrm>
            <a:off x="265781" y="1822477"/>
            <a:ext cx="359667" cy="212204"/>
          </a:xfrm>
          <a:prstGeom prst="rect">
            <a:avLst/>
          </a:prstGeom>
          <a:noFill/>
        </p:spPr>
        <p:txBody>
          <a:bodyPr wrap="square" lIns="35967" tIns="0" rIns="0" bIns="35967" rtlCol="0" anchor="b">
            <a:noAutofit/>
          </a:bodyPr>
          <a:lstStyle/>
          <a:p>
            <a:pPr>
              <a:buClr>
                <a:srgbClr val="EA1C0A"/>
              </a:buClr>
            </a:pPr>
            <a:r>
              <a:rPr lang="fr-FR" sz="1099">
                <a:solidFill>
                  <a:prstClr val="black"/>
                </a:solidFill>
                <a:latin typeface="EON Brix Sans Black"/>
              </a:rPr>
              <a:t>2018</a:t>
            </a:r>
          </a:p>
        </p:txBody>
      </p:sp>
      <p:sp>
        <p:nvSpPr>
          <p:cNvPr id="7" name="Richtungspfeil 5">
            <a:extLst>
              <a:ext uri="{FF2B5EF4-FFF2-40B4-BE49-F238E27FC236}">
                <a16:creationId xmlns:a16="http://schemas.microsoft.com/office/drawing/2014/main" id="{8331DD3E-711B-73AD-6517-A3FDB93473A6}"/>
              </a:ext>
            </a:extLst>
          </p:cNvPr>
          <p:cNvSpPr/>
          <p:nvPr/>
        </p:nvSpPr>
        <p:spPr>
          <a:xfrm>
            <a:off x="431984" y="3479781"/>
            <a:ext cx="1087367" cy="591286"/>
          </a:xfrm>
          <a:prstGeom prst="homePlate">
            <a:avLst>
              <a:gd name="adj" fmla="val 1334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251767" tIns="0" rIns="71933" bIns="0" rtlCol="0" anchor="ctr"/>
          <a:lstStyle/>
          <a:p>
            <a:r>
              <a:rPr lang="fr-FR" sz="800" err="1">
                <a:solidFill>
                  <a:prstClr val="white"/>
                </a:solidFill>
                <a:latin typeface="EON Brix Sans Black"/>
              </a:rPr>
              <a:t>Creation</a:t>
            </a:r>
            <a:r>
              <a:rPr lang="fr-FR" sz="800">
                <a:solidFill>
                  <a:prstClr val="white"/>
                </a:solidFill>
                <a:latin typeface="EON Brix Sans Black"/>
              </a:rPr>
              <a:t> of the DaRe &amp; CleanUp </a:t>
            </a:r>
            <a:r>
              <a:rPr lang="fr-FR" sz="800" err="1">
                <a:solidFill>
                  <a:prstClr val="white"/>
                </a:solidFill>
                <a:latin typeface="EON Brix Sans Black"/>
              </a:rPr>
              <a:t>community</a:t>
            </a:r>
            <a:endParaRPr lang="fr-FR" sz="800">
              <a:solidFill>
                <a:prstClr val="white"/>
              </a:solidFill>
              <a:latin typeface="EON Brix Sans Black"/>
            </a:endParaRPr>
          </a:p>
        </p:txBody>
      </p:sp>
      <p:pic>
        <p:nvPicPr>
          <p:cNvPr id="40" name="Picture 2">
            <a:extLst>
              <a:ext uri="{FF2B5EF4-FFF2-40B4-BE49-F238E27FC236}">
                <a16:creationId xmlns:a16="http://schemas.microsoft.com/office/drawing/2014/main" id="{21EA14FB-60A2-B7C0-9FB5-A7FC409F94A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9159" y="2115665"/>
            <a:ext cx="1087367" cy="667156"/>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43" name="Picture 16" descr="Graphical user interface, text, application&#10;&#10;Description automatically generated">
            <a:extLst>
              <a:ext uri="{FF2B5EF4-FFF2-40B4-BE49-F238E27FC236}">
                <a16:creationId xmlns:a16="http://schemas.microsoft.com/office/drawing/2014/main" id="{661C5B46-6022-5685-B57A-12A61F2D6944}"/>
              </a:ext>
            </a:extLst>
          </p:cNvPr>
          <p:cNvPicPr>
            <a:picLocks noChangeAspect="1"/>
          </p:cNvPicPr>
          <p:nvPr/>
        </p:nvPicPr>
        <p:blipFill>
          <a:blip r:embed="rId4"/>
          <a:stretch>
            <a:fillRect/>
          </a:stretch>
        </p:blipFill>
        <p:spPr>
          <a:xfrm>
            <a:off x="183865" y="4337074"/>
            <a:ext cx="2743200" cy="517417"/>
          </a:xfrm>
          <a:prstGeom prst="rect">
            <a:avLst/>
          </a:prstGeom>
        </p:spPr>
      </p:pic>
      <p:pic>
        <p:nvPicPr>
          <p:cNvPr id="44" name="Picture 2">
            <a:extLst>
              <a:ext uri="{FF2B5EF4-FFF2-40B4-BE49-F238E27FC236}">
                <a16:creationId xmlns:a16="http://schemas.microsoft.com/office/drawing/2014/main" id="{C23BB396-A606-0291-AFAF-C8C765AC48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1927696" y="2627242"/>
            <a:ext cx="1274346" cy="703003"/>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cxnSp>
        <p:nvCxnSpPr>
          <p:cNvPr id="45" name="Gerade Verbindung 34">
            <a:extLst>
              <a:ext uri="{FF2B5EF4-FFF2-40B4-BE49-F238E27FC236}">
                <a16:creationId xmlns:a16="http://schemas.microsoft.com/office/drawing/2014/main" id="{C3E0146A-7C46-6A32-E799-C27B7F1716A2}"/>
              </a:ext>
            </a:extLst>
          </p:cNvPr>
          <p:cNvCxnSpPr>
            <a:cxnSpLocks/>
          </p:cNvCxnSpPr>
          <p:nvPr/>
        </p:nvCxnSpPr>
        <p:spPr>
          <a:xfrm>
            <a:off x="2018342" y="3232826"/>
            <a:ext cx="0" cy="4029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8" name="Gerade Verbindung 34">
            <a:extLst>
              <a:ext uri="{FF2B5EF4-FFF2-40B4-BE49-F238E27FC236}">
                <a16:creationId xmlns:a16="http://schemas.microsoft.com/office/drawing/2014/main" id="{CBCD3DB5-FE9D-4F14-2171-A79B255CF8DA}"/>
              </a:ext>
            </a:extLst>
          </p:cNvPr>
          <p:cNvCxnSpPr>
            <a:cxnSpLocks/>
          </p:cNvCxnSpPr>
          <p:nvPr/>
        </p:nvCxnSpPr>
        <p:spPr>
          <a:xfrm flipV="1">
            <a:off x="882965" y="4060730"/>
            <a:ext cx="0" cy="300336"/>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1" name="Gerade Verbindung 34">
            <a:extLst>
              <a:ext uri="{FF2B5EF4-FFF2-40B4-BE49-F238E27FC236}">
                <a16:creationId xmlns:a16="http://schemas.microsoft.com/office/drawing/2014/main" id="{11EB7D0D-4638-49B8-9400-5ABB7D87E1FE}"/>
              </a:ext>
            </a:extLst>
          </p:cNvPr>
          <p:cNvCxnSpPr>
            <a:cxnSpLocks/>
          </p:cNvCxnSpPr>
          <p:nvPr/>
        </p:nvCxnSpPr>
        <p:spPr>
          <a:xfrm flipV="1">
            <a:off x="838994" y="1892410"/>
            <a:ext cx="0" cy="247648"/>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52" name="Picture 51">
            <a:extLst>
              <a:ext uri="{FF2B5EF4-FFF2-40B4-BE49-F238E27FC236}">
                <a16:creationId xmlns:a16="http://schemas.microsoft.com/office/drawing/2014/main" id="{C8A42290-8C85-CE9F-5BE1-EA7E4827E75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052438" y="4321813"/>
            <a:ext cx="1507312" cy="620007"/>
          </a:xfrm>
          <a:prstGeom prst="rect">
            <a:avLst/>
          </a:prstGeom>
          <a:ln>
            <a:solidFill>
              <a:srgbClr val="000000"/>
            </a:solidFill>
          </a:ln>
        </p:spPr>
      </p:pic>
      <p:cxnSp>
        <p:nvCxnSpPr>
          <p:cNvPr id="53" name="Gerade Verbindung 34">
            <a:extLst>
              <a:ext uri="{FF2B5EF4-FFF2-40B4-BE49-F238E27FC236}">
                <a16:creationId xmlns:a16="http://schemas.microsoft.com/office/drawing/2014/main" id="{42346A88-A9AB-982C-739A-11615666C749}"/>
              </a:ext>
            </a:extLst>
          </p:cNvPr>
          <p:cNvCxnSpPr>
            <a:cxnSpLocks/>
          </p:cNvCxnSpPr>
          <p:nvPr/>
        </p:nvCxnSpPr>
        <p:spPr>
          <a:xfrm flipV="1">
            <a:off x="3125292" y="3984621"/>
            <a:ext cx="0" cy="435074"/>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75" name="Textfeld 26">
            <a:extLst>
              <a:ext uri="{FF2B5EF4-FFF2-40B4-BE49-F238E27FC236}">
                <a16:creationId xmlns:a16="http://schemas.microsoft.com/office/drawing/2014/main" id="{1F54BCF3-F874-7FDC-3088-27E30318314C}"/>
              </a:ext>
            </a:extLst>
          </p:cNvPr>
          <p:cNvSpPr txBox="1"/>
          <p:nvPr/>
        </p:nvSpPr>
        <p:spPr>
          <a:xfrm>
            <a:off x="5986227" y="4081498"/>
            <a:ext cx="359667" cy="212204"/>
          </a:xfrm>
          <a:prstGeom prst="rect">
            <a:avLst/>
          </a:prstGeom>
          <a:noFill/>
        </p:spPr>
        <p:txBody>
          <a:bodyPr wrap="square" lIns="35967" tIns="0" rIns="0" bIns="35967" rtlCol="0" anchor="b">
            <a:noAutofit/>
          </a:bodyPr>
          <a:lstStyle/>
          <a:p>
            <a:pPr>
              <a:buClr>
                <a:srgbClr val="EA1C0A"/>
              </a:buClr>
            </a:pPr>
            <a:r>
              <a:rPr lang="fr-FR" sz="1099">
                <a:solidFill>
                  <a:prstClr val="black"/>
                </a:solidFill>
                <a:latin typeface="EON Brix Sans Black"/>
              </a:rPr>
              <a:t>2022</a:t>
            </a:r>
          </a:p>
        </p:txBody>
      </p:sp>
      <p:pic>
        <p:nvPicPr>
          <p:cNvPr id="46" name="Picture 45">
            <a:extLst>
              <a:ext uri="{FF2B5EF4-FFF2-40B4-BE49-F238E27FC236}">
                <a16:creationId xmlns:a16="http://schemas.microsoft.com/office/drawing/2014/main" id="{DCFBD0C8-906D-A324-7E2E-0DE4DC9AA7B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48909" y="4321878"/>
            <a:ext cx="1339562" cy="756072"/>
          </a:xfrm>
          <a:prstGeom prst="rect">
            <a:avLst/>
          </a:prstGeom>
          <a:ln>
            <a:solidFill>
              <a:srgbClr val="000000"/>
            </a:solidFill>
          </a:ln>
        </p:spPr>
      </p:pic>
      <p:pic>
        <p:nvPicPr>
          <p:cNvPr id="50" name="Picture 49">
            <a:extLst>
              <a:ext uri="{FF2B5EF4-FFF2-40B4-BE49-F238E27FC236}">
                <a16:creationId xmlns:a16="http://schemas.microsoft.com/office/drawing/2014/main" id="{D1ACD9CC-1979-0239-48B4-DAC7CA0C3D7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215498" y="2599736"/>
            <a:ext cx="1350732" cy="758013"/>
          </a:xfrm>
          <a:prstGeom prst="rect">
            <a:avLst/>
          </a:prstGeom>
          <a:ln>
            <a:solidFill>
              <a:srgbClr val="000000"/>
            </a:solidFill>
          </a:ln>
        </p:spPr>
      </p:pic>
      <p:cxnSp>
        <p:nvCxnSpPr>
          <p:cNvPr id="55" name="Gerade Verbindung 34">
            <a:extLst>
              <a:ext uri="{FF2B5EF4-FFF2-40B4-BE49-F238E27FC236}">
                <a16:creationId xmlns:a16="http://schemas.microsoft.com/office/drawing/2014/main" id="{B12B80B0-CD6D-ADD2-CDAF-F7D4FB553082}"/>
              </a:ext>
            </a:extLst>
          </p:cNvPr>
          <p:cNvCxnSpPr>
            <a:cxnSpLocks/>
          </p:cNvCxnSpPr>
          <p:nvPr/>
        </p:nvCxnSpPr>
        <p:spPr>
          <a:xfrm flipV="1">
            <a:off x="5739889" y="3984621"/>
            <a:ext cx="0" cy="452554"/>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57" name="Gerade Verbindung 34">
            <a:extLst>
              <a:ext uri="{FF2B5EF4-FFF2-40B4-BE49-F238E27FC236}">
                <a16:creationId xmlns:a16="http://schemas.microsoft.com/office/drawing/2014/main" id="{262D33D2-03D5-0DC3-19B8-C0BA7763F368}"/>
              </a:ext>
            </a:extLst>
          </p:cNvPr>
          <p:cNvCxnSpPr>
            <a:cxnSpLocks/>
          </p:cNvCxnSpPr>
          <p:nvPr/>
        </p:nvCxnSpPr>
        <p:spPr>
          <a:xfrm>
            <a:off x="4449602" y="3222101"/>
            <a:ext cx="0" cy="4031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60" name="Picture 59">
            <a:extLst>
              <a:ext uri="{FF2B5EF4-FFF2-40B4-BE49-F238E27FC236}">
                <a16:creationId xmlns:a16="http://schemas.microsoft.com/office/drawing/2014/main" id="{BBA071D8-4E7A-D67E-F2FE-477ECB500A9F}"/>
              </a:ext>
            </a:extLst>
          </p:cNvPr>
          <p:cNvPicPr>
            <a:picLocks noChangeAspect="1"/>
          </p:cNvPicPr>
          <p:nvPr/>
        </p:nvPicPr>
        <p:blipFill>
          <a:blip r:embed="rId9"/>
          <a:stretch>
            <a:fillRect/>
          </a:stretch>
        </p:blipFill>
        <p:spPr>
          <a:xfrm>
            <a:off x="882965" y="522703"/>
            <a:ext cx="1135377" cy="637762"/>
          </a:xfrm>
          <a:prstGeom prst="rect">
            <a:avLst/>
          </a:prstGeom>
          <a:ln>
            <a:solidFill>
              <a:srgbClr val="000000"/>
            </a:solidFill>
          </a:ln>
        </p:spPr>
      </p:pic>
      <p:cxnSp>
        <p:nvCxnSpPr>
          <p:cNvPr id="82" name="Gerade Verbindung 34">
            <a:extLst>
              <a:ext uri="{FF2B5EF4-FFF2-40B4-BE49-F238E27FC236}">
                <a16:creationId xmlns:a16="http://schemas.microsoft.com/office/drawing/2014/main" id="{F88375F8-3C2A-C2C9-191C-24D07731D61E}"/>
              </a:ext>
            </a:extLst>
          </p:cNvPr>
          <p:cNvCxnSpPr>
            <a:cxnSpLocks/>
          </p:cNvCxnSpPr>
          <p:nvPr/>
        </p:nvCxnSpPr>
        <p:spPr>
          <a:xfrm>
            <a:off x="1386526" y="958986"/>
            <a:ext cx="0" cy="4029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87" name="Picture 2">
            <a:extLst>
              <a:ext uri="{FF2B5EF4-FFF2-40B4-BE49-F238E27FC236}">
                <a16:creationId xmlns:a16="http://schemas.microsoft.com/office/drawing/2014/main" id="{6B25F350-BCCD-4BB1-49B8-A5F51C9277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2275100" y="491833"/>
            <a:ext cx="1138289" cy="638365"/>
          </a:xfrm>
          <a:prstGeom prst="rect">
            <a:avLst/>
          </a:prstGeom>
          <a:noFill/>
          <a:ln>
            <a:solidFill>
              <a:srgbClr val="000000"/>
            </a:solidFill>
          </a:ln>
          <a:extLst>
            <a:ext uri="{909E8E84-426E-40DD-AFC4-6F175D3DCCD1}">
              <a14:hiddenFill xmlns:a14="http://schemas.microsoft.com/office/drawing/2010/main">
                <a:solidFill>
                  <a:srgbClr val="FFFFFF"/>
                </a:solidFill>
              </a14:hiddenFill>
            </a:ext>
          </a:extLst>
        </p:spPr>
      </p:pic>
      <p:pic>
        <p:nvPicPr>
          <p:cNvPr id="90" name="Picture 89">
            <a:extLst>
              <a:ext uri="{FF2B5EF4-FFF2-40B4-BE49-F238E27FC236}">
                <a16:creationId xmlns:a16="http://schemas.microsoft.com/office/drawing/2014/main" id="{D1EF6C9A-2442-9183-1243-AFA906726DD9}"/>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3202042" y="1890162"/>
            <a:ext cx="1087365" cy="615220"/>
          </a:xfrm>
          <a:prstGeom prst="rect">
            <a:avLst/>
          </a:prstGeom>
          <a:ln>
            <a:solidFill>
              <a:srgbClr val="000000"/>
            </a:solidFill>
          </a:ln>
        </p:spPr>
      </p:pic>
      <p:pic>
        <p:nvPicPr>
          <p:cNvPr id="94" name="Picture 93">
            <a:extLst>
              <a:ext uri="{FF2B5EF4-FFF2-40B4-BE49-F238E27FC236}">
                <a16:creationId xmlns:a16="http://schemas.microsoft.com/office/drawing/2014/main" id="{23C97A4B-2726-AED3-17D6-C6F89F74C283}"/>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617043" y="4241367"/>
            <a:ext cx="1215351" cy="667633"/>
          </a:xfrm>
          <a:prstGeom prst="rect">
            <a:avLst/>
          </a:prstGeom>
          <a:ln>
            <a:solidFill>
              <a:srgbClr val="000000"/>
            </a:solidFill>
          </a:ln>
        </p:spPr>
      </p:pic>
      <p:pic>
        <p:nvPicPr>
          <p:cNvPr id="97" name="Picture 96">
            <a:extLst>
              <a:ext uri="{FF2B5EF4-FFF2-40B4-BE49-F238E27FC236}">
                <a16:creationId xmlns:a16="http://schemas.microsoft.com/office/drawing/2014/main" id="{F6DF4768-1BB2-7348-0EFD-1285C1C0815B}"/>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4002855" y="459472"/>
            <a:ext cx="1138289" cy="641333"/>
          </a:xfrm>
          <a:prstGeom prst="rect">
            <a:avLst/>
          </a:prstGeom>
          <a:ln>
            <a:solidFill>
              <a:srgbClr val="000000"/>
            </a:solidFill>
          </a:ln>
        </p:spPr>
      </p:pic>
      <p:pic>
        <p:nvPicPr>
          <p:cNvPr id="100" name="Picture 99">
            <a:extLst>
              <a:ext uri="{FF2B5EF4-FFF2-40B4-BE49-F238E27FC236}">
                <a16:creationId xmlns:a16="http://schemas.microsoft.com/office/drawing/2014/main" id="{3C640C56-15C7-7FAB-0683-87F8E80442CA}"/>
              </a:ext>
            </a:extLst>
          </p:cNvPr>
          <p:cNvPicPr>
            <a:picLocks noChangeAspect="1"/>
          </p:cNvPicPr>
          <p:nvPr/>
        </p:nvPicPr>
        <p:blipFill>
          <a:blip r:embed="rId14"/>
          <a:stretch>
            <a:fillRect/>
          </a:stretch>
        </p:blipFill>
        <p:spPr>
          <a:xfrm>
            <a:off x="5589382" y="395303"/>
            <a:ext cx="542791" cy="765161"/>
          </a:xfrm>
          <a:prstGeom prst="rect">
            <a:avLst/>
          </a:prstGeom>
          <a:ln>
            <a:solidFill>
              <a:schemeClr val="tx1"/>
            </a:solidFill>
          </a:ln>
        </p:spPr>
      </p:pic>
      <p:cxnSp>
        <p:nvCxnSpPr>
          <p:cNvPr id="102" name="Gerade Verbindung 34">
            <a:extLst>
              <a:ext uri="{FF2B5EF4-FFF2-40B4-BE49-F238E27FC236}">
                <a16:creationId xmlns:a16="http://schemas.microsoft.com/office/drawing/2014/main" id="{364F8A8E-2FC5-FE10-7B71-7AE817829923}"/>
              </a:ext>
            </a:extLst>
          </p:cNvPr>
          <p:cNvCxnSpPr>
            <a:cxnSpLocks/>
          </p:cNvCxnSpPr>
          <p:nvPr/>
        </p:nvCxnSpPr>
        <p:spPr>
          <a:xfrm>
            <a:off x="3413389" y="1644280"/>
            <a:ext cx="0" cy="4031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03" name="Gerade Verbindung 34">
            <a:extLst>
              <a:ext uri="{FF2B5EF4-FFF2-40B4-BE49-F238E27FC236}">
                <a16:creationId xmlns:a16="http://schemas.microsoft.com/office/drawing/2014/main" id="{82E82CBD-D2BD-7219-23D5-0282052083D5}"/>
              </a:ext>
            </a:extLst>
          </p:cNvPr>
          <p:cNvCxnSpPr>
            <a:cxnSpLocks/>
          </p:cNvCxnSpPr>
          <p:nvPr/>
        </p:nvCxnSpPr>
        <p:spPr>
          <a:xfrm>
            <a:off x="2391215" y="958986"/>
            <a:ext cx="0" cy="4029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04" name="Gerade Verbindung 34">
            <a:extLst>
              <a:ext uri="{FF2B5EF4-FFF2-40B4-BE49-F238E27FC236}">
                <a16:creationId xmlns:a16="http://schemas.microsoft.com/office/drawing/2014/main" id="{966F9802-01CE-0DB9-94CA-A365FBF712EC}"/>
              </a:ext>
            </a:extLst>
          </p:cNvPr>
          <p:cNvCxnSpPr>
            <a:cxnSpLocks/>
          </p:cNvCxnSpPr>
          <p:nvPr/>
        </p:nvCxnSpPr>
        <p:spPr>
          <a:xfrm>
            <a:off x="4125925" y="958986"/>
            <a:ext cx="0" cy="4029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105" name="Gerade Verbindung 34">
            <a:extLst>
              <a:ext uri="{FF2B5EF4-FFF2-40B4-BE49-F238E27FC236}">
                <a16:creationId xmlns:a16="http://schemas.microsoft.com/office/drawing/2014/main" id="{717D363B-2BE3-C26C-0A91-3CE9B9493D9B}"/>
              </a:ext>
            </a:extLst>
          </p:cNvPr>
          <p:cNvCxnSpPr>
            <a:cxnSpLocks/>
          </p:cNvCxnSpPr>
          <p:nvPr/>
        </p:nvCxnSpPr>
        <p:spPr>
          <a:xfrm>
            <a:off x="5735542" y="928619"/>
            <a:ext cx="0" cy="4031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108" name="Picture 107">
            <a:extLst>
              <a:ext uri="{FF2B5EF4-FFF2-40B4-BE49-F238E27FC236}">
                <a16:creationId xmlns:a16="http://schemas.microsoft.com/office/drawing/2014/main" id="{3AD5CBD3-A90F-E61A-0DD8-DE971E2A3BE4}"/>
              </a:ext>
            </a:extLst>
          </p:cNvPr>
          <p:cNvPicPr>
            <a:picLocks noChangeAspect="1"/>
          </p:cNvPicPr>
          <p:nvPr/>
        </p:nvPicPr>
        <p:blipFill>
          <a:blip r:embed="rId15"/>
          <a:stretch>
            <a:fillRect/>
          </a:stretch>
        </p:blipFill>
        <p:spPr>
          <a:xfrm>
            <a:off x="6774988" y="275907"/>
            <a:ext cx="1350732" cy="796522"/>
          </a:xfrm>
          <a:prstGeom prst="rect">
            <a:avLst/>
          </a:prstGeom>
          <a:ln>
            <a:solidFill>
              <a:srgbClr val="000000"/>
            </a:solidFill>
          </a:ln>
        </p:spPr>
      </p:pic>
      <p:cxnSp>
        <p:nvCxnSpPr>
          <p:cNvPr id="109" name="Gerade Verbindung 34">
            <a:extLst>
              <a:ext uri="{FF2B5EF4-FFF2-40B4-BE49-F238E27FC236}">
                <a16:creationId xmlns:a16="http://schemas.microsoft.com/office/drawing/2014/main" id="{C4CF1B1B-27E5-3FC6-F543-B89EFB67C573}"/>
              </a:ext>
            </a:extLst>
          </p:cNvPr>
          <p:cNvCxnSpPr>
            <a:cxnSpLocks/>
          </p:cNvCxnSpPr>
          <p:nvPr/>
        </p:nvCxnSpPr>
        <p:spPr>
          <a:xfrm flipV="1">
            <a:off x="7207284" y="958986"/>
            <a:ext cx="0" cy="452554"/>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110" name="Picture 109">
            <a:extLst>
              <a:ext uri="{FF2B5EF4-FFF2-40B4-BE49-F238E27FC236}">
                <a16:creationId xmlns:a16="http://schemas.microsoft.com/office/drawing/2014/main" id="{43FA915D-F7C5-549A-396A-08AB60AA1626}"/>
              </a:ext>
            </a:extLst>
          </p:cNvPr>
          <p:cNvPicPr>
            <a:picLocks noChangeAspect="1"/>
          </p:cNvPicPr>
          <p:nvPr/>
        </p:nvPicPr>
        <p:blipFill>
          <a:blip r:embed="rId16"/>
          <a:stretch>
            <a:fillRect/>
          </a:stretch>
        </p:blipFill>
        <p:spPr>
          <a:xfrm>
            <a:off x="7517389" y="2566587"/>
            <a:ext cx="1212926" cy="666239"/>
          </a:xfrm>
          <a:prstGeom prst="rect">
            <a:avLst/>
          </a:prstGeom>
          <a:ln>
            <a:solidFill>
              <a:srgbClr val="000000"/>
            </a:solidFill>
          </a:ln>
        </p:spPr>
      </p:pic>
      <p:cxnSp>
        <p:nvCxnSpPr>
          <p:cNvPr id="111" name="Gerade Verbindung 34">
            <a:extLst>
              <a:ext uri="{FF2B5EF4-FFF2-40B4-BE49-F238E27FC236}">
                <a16:creationId xmlns:a16="http://schemas.microsoft.com/office/drawing/2014/main" id="{B9CBA36A-4133-93F4-4E40-B28D0F99269D}"/>
              </a:ext>
            </a:extLst>
          </p:cNvPr>
          <p:cNvCxnSpPr>
            <a:cxnSpLocks/>
          </p:cNvCxnSpPr>
          <p:nvPr/>
        </p:nvCxnSpPr>
        <p:spPr>
          <a:xfrm>
            <a:off x="7689275" y="3128666"/>
            <a:ext cx="0" cy="4031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114" name="Picture 113">
            <a:extLst>
              <a:ext uri="{FF2B5EF4-FFF2-40B4-BE49-F238E27FC236}">
                <a16:creationId xmlns:a16="http://schemas.microsoft.com/office/drawing/2014/main" id="{213637A0-DA04-286B-DCC6-76263C2F24E6}"/>
              </a:ext>
            </a:extLst>
          </p:cNvPr>
          <p:cNvPicPr>
            <a:picLocks noChangeAspect="1"/>
          </p:cNvPicPr>
          <p:nvPr/>
        </p:nvPicPr>
        <p:blipFill>
          <a:blip r:embed="rId17"/>
          <a:stretch>
            <a:fillRect/>
          </a:stretch>
        </p:blipFill>
        <p:spPr>
          <a:xfrm>
            <a:off x="6043876" y="2245603"/>
            <a:ext cx="995866" cy="998220"/>
          </a:xfrm>
          <a:prstGeom prst="rect">
            <a:avLst/>
          </a:prstGeom>
          <a:ln>
            <a:solidFill>
              <a:schemeClr val="tx1"/>
            </a:solidFill>
          </a:ln>
        </p:spPr>
      </p:pic>
      <p:cxnSp>
        <p:nvCxnSpPr>
          <p:cNvPr id="115" name="Gerade Verbindung 34">
            <a:extLst>
              <a:ext uri="{FF2B5EF4-FFF2-40B4-BE49-F238E27FC236}">
                <a16:creationId xmlns:a16="http://schemas.microsoft.com/office/drawing/2014/main" id="{B456C3A9-4876-F8B5-79BF-910052B12439}"/>
              </a:ext>
            </a:extLst>
          </p:cNvPr>
          <p:cNvCxnSpPr>
            <a:cxnSpLocks/>
          </p:cNvCxnSpPr>
          <p:nvPr/>
        </p:nvCxnSpPr>
        <p:spPr>
          <a:xfrm>
            <a:off x="6740484" y="3201078"/>
            <a:ext cx="0" cy="403157"/>
          </a:xfrm>
          <a:prstGeom prst="line">
            <a:avLst/>
          </a:prstGeom>
          <a:ln w="19050">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8" name="Graphic 7" descr="Exclamation mark with solid fill">
            <a:extLst>
              <a:ext uri="{FF2B5EF4-FFF2-40B4-BE49-F238E27FC236}">
                <a16:creationId xmlns:a16="http://schemas.microsoft.com/office/drawing/2014/main" id="{DCDF90C7-F522-4064-89B4-F901D6D1516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654807" y="4028926"/>
            <a:ext cx="827071" cy="827071"/>
          </a:xfrm>
          <a:prstGeom prst="rect">
            <a:avLst/>
          </a:prstGeom>
        </p:spPr>
      </p:pic>
      <p:sp>
        <p:nvSpPr>
          <p:cNvPr id="58" name="Rectangle 57">
            <a:extLst>
              <a:ext uri="{FF2B5EF4-FFF2-40B4-BE49-F238E27FC236}">
                <a16:creationId xmlns:a16="http://schemas.microsoft.com/office/drawing/2014/main" id="{FA443F62-1574-4380-BCF7-9DE085A2F3A1}"/>
              </a:ext>
            </a:extLst>
          </p:cNvPr>
          <p:cNvSpPr/>
          <p:nvPr/>
        </p:nvSpPr>
        <p:spPr>
          <a:xfrm>
            <a:off x="557115" y="2633915"/>
            <a:ext cx="1047301" cy="756747"/>
          </a:xfrm>
          <a:prstGeom prst="rect">
            <a:avLst/>
          </a:prstGeom>
          <a:solidFill>
            <a:srgbClr val="EAE8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solidFill>
                <a:srgbClr val="B00402"/>
              </a:solidFill>
            </a:endParaRPr>
          </a:p>
        </p:txBody>
      </p:sp>
      <p:sp>
        <p:nvSpPr>
          <p:cNvPr id="59" name="TextBox 58">
            <a:extLst>
              <a:ext uri="{FF2B5EF4-FFF2-40B4-BE49-F238E27FC236}">
                <a16:creationId xmlns:a16="http://schemas.microsoft.com/office/drawing/2014/main" id="{6BE89585-BFDA-42D8-ACFA-42C1E7405D93}"/>
              </a:ext>
            </a:extLst>
          </p:cNvPr>
          <p:cNvSpPr txBox="1"/>
          <p:nvPr/>
        </p:nvSpPr>
        <p:spPr>
          <a:xfrm>
            <a:off x="527520" y="2588792"/>
            <a:ext cx="2197907" cy="75674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nSpc>
                <a:spcPct val="150000"/>
              </a:lnSpc>
            </a:pPr>
            <a:r>
              <a:rPr lang="en-US" sz="1000">
                <a:solidFill>
                  <a:srgbClr val="B00402"/>
                </a:solidFill>
                <a:latin typeface="EON Brix Sans Medium" panose="020B0600000000000000" pitchFamily="34" charset="-18"/>
              </a:rPr>
              <a:t>2 people, </a:t>
            </a:r>
          </a:p>
          <a:p>
            <a:pPr>
              <a:lnSpc>
                <a:spcPct val="150000"/>
              </a:lnSpc>
            </a:pPr>
            <a:r>
              <a:rPr lang="en-US" sz="1000">
                <a:solidFill>
                  <a:srgbClr val="B00402"/>
                </a:solidFill>
                <a:latin typeface="EON Brix Sans Medium" panose="020B0600000000000000" pitchFamily="34" charset="-18"/>
              </a:rPr>
              <a:t>0 businesses, </a:t>
            </a:r>
          </a:p>
          <a:p>
            <a:pPr>
              <a:lnSpc>
                <a:spcPct val="150000"/>
              </a:lnSpc>
            </a:pPr>
            <a:r>
              <a:rPr lang="en-US" sz="1000">
                <a:solidFill>
                  <a:srgbClr val="B00402"/>
                </a:solidFill>
                <a:latin typeface="EON Brix Sans Medium" panose="020B0600000000000000" pitchFamily="34" charset="-18"/>
              </a:rPr>
              <a:t>0 technologies</a:t>
            </a:r>
          </a:p>
        </p:txBody>
      </p:sp>
      <p:pic>
        <p:nvPicPr>
          <p:cNvPr id="62" name="Graphic 61" descr="Exclamation mark with solid fill">
            <a:extLst>
              <a:ext uri="{FF2B5EF4-FFF2-40B4-BE49-F238E27FC236}">
                <a16:creationId xmlns:a16="http://schemas.microsoft.com/office/drawing/2014/main" id="{F14F07B9-3E4E-4B13-B19B-901FF5837F3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82238" y="2539585"/>
            <a:ext cx="827071" cy="827071"/>
          </a:xfrm>
          <a:prstGeom prst="rect">
            <a:avLst/>
          </a:prstGeom>
        </p:spPr>
      </p:pic>
    </p:spTree>
    <p:extLst>
      <p:ext uri="{BB962C8B-B14F-4D97-AF65-F5344CB8AC3E}">
        <p14:creationId xmlns:p14="http://schemas.microsoft.com/office/powerpoint/2010/main" val="1533911357"/>
      </p:ext>
    </p:extLst>
  </p:cSld>
  <p:clrMapOvr>
    <a:masterClrMapping/>
  </p:clrMapOvr>
  <mc:AlternateContent xmlns:mc="http://schemas.openxmlformats.org/markup-compatibility/2006" xmlns:p14="http://schemas.microsoft.com/office/powerpoint/2010/main">
    <mc:Choice Requires="p14">
      <p:transition p14:dur="0">
        <p:wipe/>
      </p:transition>
    </mc:Choice>
    <mc:Fallback xmlns="">
      <p:transition>
        <p:wip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BASIS" val="EONVorlage_BrixSans"/>
  <p:tag name="VERSION"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OMvXaqicQVSMe.pjfd0u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5PZXERMNrEpPoAIWZ3o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MvXaqicQVSMe.pjfd0uMg"/>
</p:tagLst>
</file>

<file path=ppt/theme/theme1.xml><?xml version="1.0" encoding="utf-8"?>
<a:theme xmlns:a="http://schemas.openxmlformats.org/drawingml/2006/main" name="1_e-on Enjoyment Template">
  <a:themeElements>
    <a:clrScheme name="EON">
      <a:dk1>
        <a:srgbClr val="000000"/>
      </a:dk1>
      <a:lt1>
        <a:srgbClr val="FFFFFF"/>
      </a:lt1>
      <a:dk2>
        <a:srgbClr val="000000"/>
      </a:dk2>
      <a:lt2>
        <a:srgbClr val="FFFFFF"/>
      </a:lt2>
      <a:accent1>
        <a:srgbClr val="EA1C0A"/>
      </a:accent1>
      <a:accent2>
        <a:srgbClr val="B00402"/>
      </a:accent2>
      <a:accent3>
        <a:srgbClr val="5CC1CB"/>
      </a:accent3>
      <a:accent4>
        <a:srgbClr val="E3E000"/>
      </a:accent4>
      <a:accent5>
        <a:srgbClr val="C44341"/>
      </a:accent5>
      <a:accent6>
        <a:srgbClr val="85D1D8"/>
      </a:accent6>
      <a:hlink>
        <a:srgbClr val="0000FF"/>
      </a:hlink>
      <a:folHlink>
        <a:srgbClr val="800080"/>
      </a:folHlink>
    </a:clrScheme>
    <a:fontScheme name="EON Brix Sans">
      <a:majorFont>
        <a:latin typeface="EON Brix Sans Black"/>
        <a:ea typeface=""/>
        <a:cs typeface=""/>
      </a:majorFont>
      <a:minorFont>
        <a:latin typeface="EON Brix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ON">
        <a:dk1>
          <a:srgbClr val="000000"/>
        </a:dk1>
        <a:lt1>
          <a:srgbClr val="FFFFFF"/>
        </a:lt1>
        <a:dk2>
          <a:srgbClr val="000000"/>
        </a:dk2>
        <a:lt2>
          <a:srgbClr val="FFFFFF"/>
        </a:lt2>
        <a:accent1>
          <a:srgbClr val="EA1C0A"/>
        </a:accent1>
        <a:accent2>
          <a:srgbClr val="B00402"/>
        </a:accent2>
        <a:accent3>
          <a:srgbClr val="5CC1CB"/>
        </a:accent3>
        <a:accent4>
          <a:srgbClr val="E3E000"/>
        </a:accent4>
        <a:accent5>
          <a:srgbClr val="C44341"/>
        </a:accent5>
        <a:accent6>
          <a:srgbClr val="85D1D8"/>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custClrLst>
    <a:custClr name=" ">
      <a:srgbClr val="FFFFFF"/>
    </a:custClr>
    <a:custClr name=" ">
      <a:srgbClr val="FFFFFF"/>
    </a:custClr>
    <a:custClr name=" ">
      <a:srgbClr val="FFFFFF"/>
    </a:custClr>
    <a:custClr name=" ">
      <a:srgbClr val="FFFFFF"/>
    </a:custClr>
    <a:custClr name=" ">
      <a:srgbClr val="FFFFFF"/>
    </a:custClr>
    <a:custClr name="Bordeaux 75%">
      <a:srgbClr val="C44341"/>
    </a:custClr>
    <a:custClr name="Turquoise 75%">
      <a:srgbClr val="85D1D8"/>
    </a:custClr>
    <a:custClr name="Yellow 75%">
      <a:srgbClr val="EAE840"/>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Bordeaux 50%">
      <a:srgbClr val="D78180"/>
    </a:custClr>
    <a:custClr name="Turquoise 50%">
      <a:srgbClr val="ADE0E5"/>
    </a:custClr>
    <a:custClr name="Yellow 50%">
      <a:srgbClr val="F1EF7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Bordeaux 25%">
      <a:srgbClr val="EBC0C0"/>
    </a:custClr>
    <a:custClr name="Turquoise 25%">
      <a:srgbClr val="D6EFF2"/>
    </a:custClr>
    <a:custClr name="Yellow 25%">
      <a:srgbClr val="F8F7BF"/>
    </a:custClr>
    <a:custClr name=" ">
      <a:srgbClr val="FFFFFF"/>
    </a:custClr>
    <a:custClr name=" ">
      <a:srgbClr val="FFFFFF"/>
    </a:custClr>
  </a:custClr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86c8ce5-c488-43a3-8146-7ce012d9b2c5">
      <UserInfo>
        <DisplayName>Monoranu, Madalina-Ecaterina</DisplayName>
        <AccountId>47</AccountId>
        <AccountType/>
      </UserInfo>
    </SharedWithUsers>
    <lcf76f155ced4ddcb4097134ff3c332f xmlns="54e05e7d-1a97-4ff4-9607-d02b6728ee22">
      <Terms xmlns="http://schemas.microsoft.com/office/infopath/2007/PartnerControls"/>
    </lcf76f155ced4ddcb4097134ff3c332f>
    <TaxCatchAll xmlns="386c8ce5-c488-43a3-8146-7ce012d9b2c5"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C827ABA4478FF4BA10C3FE810EC8BE7" ma:contentTypeVersion="15" ma:contentTypeDescription="Create a new document." ma:contentTypeScope="" ma:versionID="956ec04e139cb866b9d6014709e8457d">
  <xsd:schema xmlns:xsd="http://www.w3.org/2001/XMLSchema" xmlns:xs="http://www.w3.org/2001/XMLSchema" xmlns:p="http://schemas.microsoft.com/office/2006/metadata/properties" xmlns:ns2="54e05e7d-1a97-4ff4-9607-d02b6728ee22" xmlns:ns3="386c8ce5-c488-43a3-8146-7ce012d9b2c5" targetNamespace="http://schemas.microsoft.com/office/2006/metadata/properties" ma:root="true" ma:fieldsID="2d72c69bcbc81629dc663dc3548592d8" ns2:_="" ns3:_="">
    <xsd:import namespace="54e05e7d-1a97-4ff4-9607-d02b6728ee22"/>
    <xsd:import namespace="386c8ce5-c488-43a3-8146-7ce012d9b2c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e05e7d-1a97-4ff4-9607-d02b6728ee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d2bc115-f314-4df2-a102-4eef0e49787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86c8ce5-c488-43a3-8146-7ce012d9b2c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4392ddf-cf79-4c62-bdeb-bda995eb8568}" ma:internalName="TaxCatchAll" ma:showField="CatchAllData" ma:web="386c8ce5-c488-43a3-8146-7ce012d9b2c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88AB5C0-B067-4719-A4A1-E2D24E0A46F3}">
  <ds:schemaRefs>
    <ds:schemaRef ds:uri="386c8ce5-c488-43a3-8146-7ce012d9b2c5"/>
    <ds:schemaRef ds:uri="54e05e7d-1a97-4ff4-9607-d02b6728ee22"/>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3FFE57DE-8477-4012-9EDB-0CEF603A3676}">
  <ds:schemaRefs>
    <ds:schemaRef ds:uri="http://schemas.microsoft.com/sharepoint/v3/contenttype/forms"/>
  </ds:schemaRefs>
</ds:datastoreItem>
</file>

<file path=customXml/itemProps3.xml><?xml version="1.0" encoding="utf-8"?>
<ds:datastoreItem xmlns:ds="http://schemas.openxmlformats.org/officeDocument/2006/customXml" ds:itemID="{E77FADEB-E9F3-4CDF-A6C5-17CE96ECF46E}"/>
</file>

<file path=docMetadata/LabelInfo.xml><?xml version="1.0" encoding="utf-8"?>
<clbl:labelList xmlns:clbl="http://schemas.microsoft.com/office/2020/mipLabelMetadata">
  <clbl:label id="{42f063bf-ce3a-473c-8609-3866002c85b0}" enabled="1" method="Standard" siteId="{b914a242-e718-443b-a47c-6b4c649d8c0a}" removed="0"/>
</clbl:labelList>
</file>

<file path=docProps/app.xml><?xml version="1.0" encoding="utf-8"?>
<Properties xmlns="http://schemas.openxmlformats.org/officeDocument/2006/extended-properties" xmlns:vt="http://schemas.openxmlformats.org/officeDocument/2006/docPropsVTypes">
  <Template>EON_Presentation</Template>
  <Application>Microsoft Office PowerPoint</Application>
  <PresentationFormat>Bildschirmpräsentation (16:9)</PresentationFormat>
  <Slides>18</Slides>
  <Notes>11</Notes>
  <HiddenSlides>0</HiddenSlides>
  <ScaleCrop>false</ScaleCrop>
  <HeadingPairs>
    <vt:vector size="4" baseType="variant">
      <vt:variant>
        <vt:lpstr>Design</vt:lpstr>
      </vt:variant>
      <vt:variant>
        <vt:i4>1</vt:i4>
      </vt:variant>
      <vt:variant>
        <vt:lpstr>Folientitel</vt:lpstr>
      </vt:variant>
      <vt:variant>
        <vt:i4>18</vt:i4>
      </vt:variant>
    </vt:vector>
  </HeadingPairs>
  <TitlesOfParts>
    <vt:vector size="19" baseType="lpstr">
      <vt:lpstr>1_e-on Enjoyment Template</vt:lpstr>
      <vt:lpstr>PowerPoint-Präsentation</vt:lpstr>
      <vt:lpstr>PowerPoint-Präsentation</vt:lpstr>
      <vt:lpstr>E.ON is an international, privately owned energy supplier based in Essen, Germany.   With a clear focus on two strong core businesses, we aim to become the partner of choice for energy and customer solutions. </vt:lpstr>
      <vt:lpstr>E.ON key strategy priorities</vt:lpstr>
      <vt:lpstr>PowerPoint-Präsentation</vt:lpstr>
      <vt:lpstr>Our Purpose</vt:lpstr>
      <vt:lpstr>PowerPoint-Präsentation</vt:lpstr>
      <vt:lpstr>PowerPoint-Präsentation</vt:lpstr>
      <vt:lpstr>Our development phas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ON PowerPoint</dc:title>
  <dc:creator>Monoranu, Madalina-Ecaterina</dc:creator>
  <dc:description/>
  <cp:revision>5</cp:revision>
  <dcterms:created xsi:type="dcterms:W3CDTF">2022-07-15T10:13:49Z</dcterms:created>
  <dcterms:modified xsi:type="dcterms:W3CDTF">2022-11-25T23:36: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2f063bf-ce3a-473c-8609-3866002c85b0_Enabled">
    <vt:lpwstr>true</vt:lpwstr>
  </property>
  <property fmtid="{D5CDD505-2E9C-101B-9397-08002B2CF9AE}" pid="3" name="MSIP_Label_42f063bf-ce3a-473c-8609-3866002c85b0_SetDate">
    <vt:lpwstr>2022-07-18T07:29:52Z</vt:lpwstr>
  </property>
  <property fmtid="{D5CDD505-2E9C-101B-9397-08002B2CF9AE}" pid="4" name="MSIP_Label_42f063bf-ce3a-473c-8609-3866002c85b0_Method">
    <vt:lpwstr>Standard</vt:lpwstr>
  </property>
  <property fmtid="{D5CDD505-2E9C-101B-9397-08002B2CF9AE}" pid="5" name="MSIP_Label_42f063bf-ce3a-473c-8609-3866002c85b0_Name">
    <vt:lpwstr>Internal - Unencrypted</vt:lpwstr>
  </property>
  <property fmtid="{D5CDD505-2E9C-101B-9397-08002B2CF9AE}" pid="6" name="MSIP_Label_42f063bf-ce3a-473c-8609-3866002c85b0_SiteId">
    <vt:lpwstr>b914a242-e718-443b-a47c-6b4c649d8c0a</vt:lpwstr>
  </property>
  <property fmtid="{D5CDD505-2E9C-101B-9397-08002B2CF9AE}" pid="7" name="MSIP_Label_42f063bf-ce3a-473c-8609-3866002c85b0_ActionId">
    <vt:lpwstr>6432aa01-8fd8-4346-923c-603da96f73da</vt:lpwstr>
  </property>
  <property fmtid="{D5CDD505-2E9C-101B-9397-08002B2CF9AE}" pid="8" name="MSIP_Label_42f063bf-ce3a-473c-8609-3866002c85b0_ContentBits">
    <vt:lpwstr>0</vt:lpwstr>
  </property>
  <property fmtid="{D5CDD505-2E9C-101B-9397-08002B2CF9AE}" pid="9" name="MediaServiceImageTags">
    <vt:lpwstr/>
  </property>
  <property fmtid="{D5CDD505-2E9C-101B-9397-08002B2CF9AE}" pid="10" name="ContentTypeId">
    <vt:lpwstr>0x0101002C827ABA4478FF4BA10C3FE810EC8BE7</vt:lpwstr>
  </property>
</Properties>
</file>